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59" r:id="rId3"/>
    <p:sldId id="278" r:id="rId4"/>
    <p:sldId id="284" r:id="rId5"/>
    <p:sldId id="285" r:id="rId6"/>
    <p:sldId id="289" r:id="rId7"/>
    <p:sldId id="287" r:id="rId8"/>
    <p:sldId id="261" r:id="rId9"/>
    <p:sldId id="288" r:id="rId10"/>
    <p:sldId id="262" r:id="rId11"/>
    <p:sldId id="283" r:id="rId12"/>
    <p:sldId id="263" r:id="rId13"/>
    <p:sldId id="258" r:id="rId14"/>
    <p:sldId id="272" r:id="rId15"/>
    <p:sldId id="264" r:id="rId16"/>
    <p:sldId id="267" r:id="rId17"/>
    <p:sldId id="281" r:id="rId18"/>
    <p:sldId id="268" r:id="rId19"/>
    <p:sldId id="269" r:id="rId20"/>
    <p:sldId id="27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1719" autoAdjust="0"/>
  </p:normalViewPr>
  <p:slideViewPr>
    <p:cSldViewPr snapToGrid="0">
      <p:cViewPr varScale="1">
        <p:scale>
          <a:sx n="55" d="100"/>
          <a:sy n="55" d="100"/>
        </p:scale>
        <p:origin x="106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ensson, Frida" userId="fb1e79d4-ac55-4a84-93df-677abc2e6a18" providerId="ADAL" clId="{6B0F8F69-A329-450B-903A-8718E2813DBA}"/>
    <pc:docChg chg="undo custSel addSld delSld modSld sldOrd modMainMaster">
      <pc:chgData name="Christensson, Frida" userId="fb1e79d4-ac55-4a84-93df-677abc2e6a18" providerId="ADAL" clId="{6B0F8F69-A329-450B-903A-8718E2813DBA}" dt="2025-01-12T11:23:47.654" v="3137" actId="20577"/>
      <pc:docMkLst>
        <pc:docMk/>
      </pc:docMkLst>
      <pc:sldChg chg="modSp mod modNotesTx">
        <pc:chgData name="Christensson, Frida" userId="fb1e79d4-ac55-4a84-93df-677abc2e6a18" providerId="ADAL" clId="{6B0F8F69-A329-450B-903A-8718E2813DBA}" dt="2025-01-09T19:17:11.286" v="2246" actId="20577"/>
        <pc:sldMkLst>
          <pc:docMk/>
          <pc:sldMk cId="2056448716" sldId="256"/>
        </pc:sldMkLst>
      </pc:sldChg>
      <pc:sldChg chg="del">
        <pc:chgData name="Christensson, Frida" userId="fb1e79d4-ac55-4a84-93df-677abc2e6a18" providerId="ADAL" clId="{6B0F8F69-A329-450B-903A-8718E2813DBA}" dt="2025-01-09T18:51:04.916" v="753" actId="47"/>
        <pc:sldMkLst>
          <pc:docMk/>
          <pc:sldMk cId="1966007105" sldId="257"/>
        </pc:sldMkLst>
      </pc:sldChg>
      <pc:sldChg chg="modSp mod">
        <pc:chgData name="Christensson, Frida" userId="fb1e79d4-ac55-4a84-93df-677abc2e6a18" providerId="ADAL" clId="{6B0F8F69-A329-450B-903A-8718E2813DBA}" dt="2025-01-09T18:50:12.743" v="748" actId="20577"/>
        <pc:sldMkLst>
          <pc:docMk/>
          <pc:sldMk cId="1689504707" sldId="258"/>
        </pc:sldMkLst>
      </pc:sldChg>
      <pc:sldChg chg="modSp mod">
        <pc:chgData name="Christensson, Frida" userId="fb1e79d4-ac55-4a84-93df-677abc2e6a18" providerId="ADAL" clId="{6B0F8F69-A329-450B-903A-8718E2813DBA}" dt="2025-01-09T19:17:59.130" v="2270" actId="27636"/>
        <pc:sldMkLst>
          <pc:docMk/>
          <pc:sldMk cId="2502069117" sldId="259"/>
        </pc:sldMkLst>
      </pc:sldChg>
      <pc:sldChg chg="del">
        <pc:chgData name="Christensson, Frida" userId="fb1e79d4-ac55-4a84-93df-677abc2e6a18" providerId="ADAL" clId="{6B0F8F69-A329-450B-903A-8718E2813DBA}" dt="2025-01-09T18:44:30.254" v="390" actId="47"/>
        <pc:sldMkLst>
          <pc:docMk/>
          <pc:sldMk cId="2670345352" sldId="260"/>
        </pc:sldMkLst>
      </pc:sldChg>
      <pc:sldChg chg="modSp mod">
        <pc:chgData name="Christensson, Frida" userId="fb1e79d4-ac55-4a84-93df-677abc2e6a18" providerId="ADAL" clId="{6B0F8F69-A329-450B-903A-8718E2813DBA}" dt="2025-01-09T19:09:03.830" v="2001" actId="20577"/>
        <pc:sldMkLst>
          <pc:docMk/>
          <pc:sldMk cId="2629483249" sldId="261"/>
        </pc:sldMkLst>
      </pc:sldChg>
      <pc:sldChg chg="addSp delSp modSp mod ord">
        <pc:chgData name="Christensson, Frida" userId="fb1e79d4-ac55-4a84-93df-677abc2e6a18" providerId="ADAL" clId="{6B0F8F69-A329-450B-903A-8718E2813DBA}" dt="2025-01-09T19:15:23.368" v="2178" actId="1076"/>
        <pc:sldMkLst>
          <pc:docMk/>
          <pc:sldMk cId="160279609" sldId="262"/>
        </pc:sldMkLst>
      </pc:sldChg>
      <pc:sldChg chg="modSp mod">
        <pc:chgData name="Christensson, Frida" userId="fb1e79d4-ac55-4a84-93df-677abc2e6a18" providerId="ADAL" clId="{6B0F8F69-A329-450B-903A-8718E2813DBA}" dt="2025-01-09T18:49:25.849" v="668" actId="113"/>
        <pc:sldMkLst>
          <pc:docMk/>
          <pc:sldMk cId="656306670" sldId="263"/>
        </pc:sldMkLst>
      </pc:sldChg>
      <pc:sldChg chg="modSp mod">
        <pc:chgData name="Christensson, Frida" userId="fb1e79d4-ac55-4a84-93df-677abc2e6a18" providerId="ADAL" clId="{6B0F8F69-A329-450B-903A-8718E2813DBA}" dt="2025-01-12T11:10:51.742" v="2997" actId="20577"/>
        <pc:sldMkLst>
          <pc:docMk/>
          <pc:sldMk cId="249562881" sldId="264"/>
        </pc:sldMkLst>
      </pc:sldChg>
      <pc:sldChg chg="del">
        <pc:chgData name="Christensson, Frida" userId="fb1e79d4-ac55-4a84-93df-677abc2e6a18" providerId="ADAL" clId="{6B0F8F69-A329-450B-903A-8718E2813DBA}" dt="2025-01-09T18:43:19.619" v="387" actId="47"/>
        <pc:sldMkLst>
          <pc:docMk/>
          <pc:sldMk cId="250075119" sldId="265"/>
        </pc:sldMkLst>
      </pc:sldChg>
      <pc:sldChg chg="del">
        <pc:chgData name="Christensson, Frida" userId="fb1e79d4-ac55-4a84-93df-677abc2e6a18" providerId="ADAL" clId="{6B0F8F69-A329-450B-903A-8718E2813DBA}" dt="2025-01-09T18:44:27.057" v="389" actId="47"/>
        <pc:sldMkLst>
          <pc:docMk/>
          <pc:sldMk cId="3220552579" sldId="266"/>
        </pc:sldMkLst>
      </pc:sldChg>
      <pc:sldChg chg="modSp mod">
        <pc:chgData name="Christensson, Frida" userId="fb1e79d4-ac55-4a84-93df-677abc2e6a18" providerId="ADAL" clId="{6B0F8F69-A329-450B-903A-8718E2813DBA}" dt="2025-01-09T18:50:45.978" v="752" actId="20577"/>
        <pc:sldMkLst>
          <pc:docMk/>
          <pc:sldMk cId="3652382634" sldId="267"/>
        </pc:sldMkLst>
      </pc:sldChg>
      <pc:sldChg chg="del">
        <pc:chgData name="Christensson, Frida" userId="fb1e79d4-ac55-4a84-93df-677abc2e6a18" providerId="ADAL" clId="{6B0F8F69-A329-450B-903A-8718E2813DBA}" dt="2025-01-09T18:44:32.988" v="391" actId="47"/>
        <pc:sldMkLst>
          <pc:docMk/>
          <pc:sldMk cId="3129163692" sldId="270"/>
        </pc:sldMkLst>
      </pc:sldChg>
      <pc:sldChg chg="del">
        <pc:chgData name="Christensson, Frida" userId="fb1e79d4-ac55-4a84-93df-677abc2e6a18" providerId="ADAL" clId="{6B0F8F69-A329-450B-903A-8718E2813DBA}" dt="2025-01-09T18:44:34.598" v="392" actId="47"/>
        <pc:sldMkLst>
          <pc:docMk/>
          <pc:sldMk cId="3459510164" sldId="271"/>
        </pc:sldMkLst>
      </pc:sldChg>
      <pc:sldChg chg="del">
        <pc:chgData name="Christensson, Frida" userId="fb1e79d4-ac55-4a84-93df-677abc2e6a18" providerId="ADAL" clId="{6B0F8F69-A329-450B-903A-8718E2813DBA}" dt="2025-01-09T18:47:46.549" v="568" actId="47"/>
        <pc:sldMkLst>
          <pc:docMk/>
          <pc:sldMk cId="2217232090" sldId="274"/>
        </pc:sldMkLst>
      </pc:sldChg>
      <pc:sldChg chg="del">
        <pc:chgData name="Christensson, Frida" userId="fb1e79d4-ac55-4a84-93df-677abc2e6a18" providerId="ADAL" clId="{6B0F8F69-A329-450B-903A-8718E2813DBA}" dt="2025-01-09T18:48:00.024" v="570" actId="47"/>
        <pc:sldMkLst>
          <pc:docMk/>
          <pc:sldMk cId="2116686682" sldId="275"/>
        </pc:sldMkLst>
      </pc:sldChg>
      <pc:sldChg chg="del">
        <pc:chgData name="Christensson, Frida" userId="fb1e79d4-ac55-4a84-93df-677abc2e6a18" providerId="ADAL" clId="{6B0F8F69-A329-450B-903A-8718E2813DBA}" dt="2025-01-09T18:48:03.230" v="571" actId="47"/>
        <pc:sldMkLst>
          <pc:docMk/>
          <pc:sldMk cId="2750415957" sldId="277"/>
        </pc:sldMkLst>
      </pc:sldChg>
      <pc:sldChg chg="modSp mod">
        <pc:chgData name="Christensson, Frida" userId="fb1e79d4-ac55-4a84-93df-677abc2e6a18" providerId="ADAL" clId="{6B0F8F69-A329-450B-903A-8718E2813DBA}" dt="2025-01-12T10:30:51.610" v="2612"/>
        <pc:sldMkLst>
          <pc:docMk/>
          <pc:sldMk cId="751325204" sldId="278"/>
        </pc:sldMkLst>
      </pc:sldChg>
      <pc:sldChg chg="del">
        <pc:chgData name="Christensson, Frida" userId="fb1e79d4-ac55-4a84-93df-677abc2e6a18" providerId="ADAL" clId="{6B0F8F69-A329-450B-903A-8718E2813DBA}" dt="2025-01-09T18:47:49.748" v="569" actId="47"/>
        <pc:sldMkLst>
          <pc:docMk/>
          <pc:sldMk cId="2526760748" sldId="279"/>
        </pc:sldMkLst>
      </pc:sldChg>
      <pc:sldChg chg="del">
        <pc:chgData name="Christensson, Frida" userId="fb1e79d4-ac55-4a84-93df-677abc2e6a18" providerId="ADAL" clId="{6B0F8F69-A329-450B-903A-8718E2813DBA}" dt="2025-01-09T18:50:37.906" v="750" actId="47"/>
        <pc:sldMkLst>
          <pc:docMk/>
          <pc:sldMk cId="2876958655" sldId="280"/>
        </pc:sldMkLst>
      </pc:sldChg>
      <pc:sldChg chg="del">
        <pc:chgData name="Christensson, Frida" userId="fb1e79d4-ac55-4a84-93df-677abc2e6a18" providerId="ADAL" clId="{6B0F8F69-A329-450B-903A-8718E2813DBA}" dt="2025-01-09T18:47:06.318" v="539" actId="47"/>
        <pc:sldMkLst>
          <pc:docMk/>
          <pc:sldMk cId="2727138845" sldId="282"/>
        </pc:sldMkLst>
      </pc:sldChg>
      <pc:sldChg chg="modSp mod">
        <pc:chgData name="Christensson, Frida" userId="fb1e79d4-ac55-4a84-93df-677abc2e6a18" providerId="ADAL" clId="{6B0F8F69-A329-450B-903A-8718E2813DBA}" dt="2025-01-09T19:15:53.204" v="2199" actId="20577"/>
        <pc:sldMkLst>
          <pc:docMk/>
          <pc:sldMk cId="2585229670" sldId="283"/>
        </pc:sldMkLst>
      </pc:sldChg>
      <pc:sldChg chg="new del">
        <pc:chgData name="Christensson, Frida" userId="fb1e79d4-ac55-4a84-93df-677abc2e6a18" providerId="ADAL" clId="{6B0F8F69-A329-450B-903A-8718E2813DBA}" dt="2025-01-09T18:51:25.055" v="755" actId="680"/>
        <pc:sldMkLst>
          <pc:docMk/>
          <pc:sldMk cId="491383544" sldId="284"/>
        </pc:sldMkLst>
      </pc:sldChg>
      <pc:sldChg chg="addSp delSp modSp add mod">
        <pc:chgData name="Christensson, Frida" userId="fb1e79d4-ac55-4a84-93df-677abc2e6a18" providerId="ADAL" clId="{6B0F8F69-A329-450B-903A-8718E2813DBA}" dt="2025-01-12T11:23:47.654" v="3137" actId="20577"/>
        <pc:sldMkLst>
          <pc:docMk/>
          <pc:sldMk cId="1355982425" sldId="284"/>
        </pc:sldMkLst>
      </pc:sldChg>
      <pc:sldChg chg="addSp delSp modSp add mod">
        <pc:chgData name="Christensson, Frida" userId="fb1e79d4-ac55-4a84-93df-677abc2e6a18" providerId="ADAL" clId="{6B0F8F69-A329-450B-903A-8718E2813DBA}" dt="2025-01-10T09:50:20.648" v="2610" actId="20577"/>
        <pc:sldMkLst>
          <pc:docMk/>
          <pc:sldMk cId="2733947508" sldId="285"/>
        </pc:sldMkLst>
      </pc:sldChg>
      <pc:sldChg chg="addSp delSp modSp add del mod">
        <pc:chgData name="Christensson, Frida" userId="fb1e79d4-ac55-4a84-93df-677abc2e6a18" providerId="ADAL" clId="{6B0F8F69-A329-450B-903A-8718E2813DBA}" dt="2025-01-09T19:06:23.709" v="1940" actId="47"/>
        <pc:sldMkLst>
          <pc:docMk/>
          <pc:sldMk cId="1870122445" sldId="286"/>
        </pc:sldMkLst>
      </pc:sldChg>
      <pc:sldChg chg="addSp delSp modSp add mod modNotesTx">
        <pc:chgData name="Christensson, Frida" userId="fb1e79d4-ac55-4a84-93df-677abc2e6a18" providerId="ADAL" clId="{6B0F8F69-A329-450B-903A-8718E2813DBA}" dt="2025-01-12T11:09:52.049" v="2925" actId="20577"/>
        <pc:sldMkLst>
          <pc:docMk/>
          <pc:sldMk cId="219284678" sldId="287"/>
        </pc:sldMkLst>
      </pc:sldChg>
      <pc:sldChg chg="addSp delSp modSp add mod ord modNotesTx">
        <pc:chgData name="Christensson, Frida" userId="fb1e79d4-ac55-4a84-93df-677abc2e6a18" providerId="ADAL" clId="{6B0F8F69-A329-450B-903A-8718E2813DBA}" dt="2025-01-12T11:10:12.949" v="2966" actId="20577"/>
        <pc:sldMkLst>
          <pc:docMk/>
          <pc:sldMk cId="3053069520" sldId="288"/>
        </pc:sldMkLst>
      </pc:sldChg>
      <pc:sldChg chg="addSp delSp modSp add mod ord">
        <pc:chgData name="Christensson, Frida" userId="fb1e79d4-ac55-4a84-93df-677abc2e6a18" providerId="ADAL" clId="{6B0F8F69-A329-450B-903A-8718E2813DBA}" dt="2025-01-09T19:19:11.396" v="2486"/>
        <pc:sldMkLst>
          <pc:docMk/>
          <pc:sldMk cId="729481423" sldId="289"/>
        </pc:sldMkLst>
      </pc:sldChg>
      <pc:sldMasterChg chg="addSp delSp modSp mod">
        <pc:chgData name="Christensson, Frida" userId="fb1e79d4-ac55-4a84-93df-677abc2e6a18" providerId="ADAL" clId="{6B0F8F69-A329-450B-903A-8718E2813DBA}" dt="2025-01-09T18:51:37.556" v="808"/>
        <pc:sldMasterMkLst>
          <pc:docMk/>
          <pc:sldMasterMk cId="1591516701" sldId="2147483648"/>
        </pc:sldMasterMkLst>
      </pc:sldMasterChg>
    </pc:docChg>
  </pc:docChgLst>
  <pc:docChgLst>
    <pc:chgData name="Christensson, Frida" userId="fb1e79d4-ac55-4a84-93df-677abc2e6a18" providerId="ADAL" clId="{47B1AD65-1E7B-4441-ABD3-6ABF5A368513}"/>
    <pc:docChg chg="modSld">
      <pc:chgData name="Christensson, Frida" userId="fb1e79d4-ac55-4a84-93df-677abc2e6a18" providerId="ADAL" clId="{47B1AD65-1E7B-4441-ABD3-6ABF5A368513}" dt="2025-04-23T05:24:56.495" v="0" actId="1076"/>
      <pc:docMkLst>
        <pc:docMk/>
      </pc:docMkLst>
      <pc:sldChg chg="modSp mod">
        <pc:chgData name="Christensson, Frida" userId="fb1e79d4-ac55-4a84-93df-677abc2e6a18" providerId="ADAL" clId="{47B1AD65-1E7B-4441-ABD3-6ABF5A368513}" dt="2025-04-23T05:24:56.495" v="0" actId="1076"/>
        <pc:sldMkLst>
          <pc:docMk/>
          <pc:sldMk cId="2733947508" sldId="285"/>
        </pc:sldMkLst>
        <pc:spChg chg="mod">
          <ac:chgData name="Christensson, Frida" userId="fb1e79d4-ac55-4a84-93df-677abc2e6a18" providerId="ADAL" clId="{47B1AD65-1E7B-4441-ABD3-6ABF5A368513}" dt="2025-04-23T05:24:56.495" v="0" actId="1076"/>
          <ac:spMkLst>
            <pc:docMk/>
            <pc:sldMk cId="2733947508" sldId="285"/>
            <ac:spMk id="3" creationId="{4F9764FD-667B-A6E3-72DA-2928D3B20E3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9507F5-A15B-465B-997B-4A4D5B5870A7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275F32-4927-4FA4-8D0B-20FBDAB8FD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570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2025</a:t>
            </a:r>
          </a:p>
          <a:p>
            <a:r>
              <a:rPr lang="sv-SE" dirty="0"/>
              <a:t>32 </a:t>
            </a:r>
            <a:r>
              <a:rPr lang="sv-SE" dirty="0" err="1"/>
              <a:t>st</a:t>
            </a:r>
            <a:r>
              <a:rPr lang="sv-SE" dirty="0"/>
              <a:t> spelare i nuläget</a:t>
            </a:r>
          </a:p>
          <a:p>
            <a:r>
              <a:rPr lang="sv-SE" dirty="0"/>
              <a:t>10 </a:t>
            </a:r>
            <a:r>
              <a:rPr lang="sv-SE" dirty="0" err="1"/>
              <a:t>st</a:t>
            </a:r>
            <a:r>
              <a:rPr lang="sv-SE" dirty="0"/>
              <a:t> födda 2012</a:t>
            </a:r>
          </a:p>
          <a:p>
            <a:r>
              <a:rPr lang="sv-SE" dirty="0"/>
              <a:t>21st födda 2013</a:t>
            </a:r>
          </a:p>
          <a:p>
            <a:r>
              <a:rPr lang="sv-SE" dirty="0"/>
              <a:t>1st född 2014</a:t>
            </a:r>
          </a:p>
          <a:p>
            <a:r>
              <a:rPr lang="sv-SE" dirty="0"/>
              <a:t>5 </a:t>
            </a:r>
            <a:r>
              <a:rPr lang="sv-SE" dirty="0" err="1"/>
              <a:t>st</a:t>
            </a:r>
            <a:r>
              <a:rPr lang="sv-SE" dirty="0"/>
              <a:t> ledare</a:t>
            </a:r>
          </a:p>
          <a:p>
            <a:r>
              <a:rPr lang="sv-SE" dirty="0"/>
              <a:t>1st lagledare/</a:t>
            </a:r>
            <a:r>
              <a:rPr lang="sv-SE" dirty="0" err="1"/>
              <a:t>admin</a:t>
            </a:r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 dirty="0"/>
              <a:t>2023</a:t>
            </a:r>
          </a:p>
          <a:p>
            <a:r>
              <a:rPr lang="sv-SE" dirty="0"/>
              <a:t>28 spelare </a:t>
            </a:r>
            <a:r>
              <a:rPr lang="sv-SE" dirty="0" err="1"/>
              <a:t>registerade</a:t>
            </a:r>
            <a:r>
              <a:rPr lang="sv-SE" dirty="0"/>
              <a:t>.</a:t>
            </a:r>
          </a:p>
          <a:p>
            <a:r>
              <a:rPr lang="sv-SE" dirty="0"/>
              <a:t>9st 2012</a:t>
            </a:r>
          </a:p>
          <a:p>
            <a:r>
              <a:rPr lang="sv-SE" dirty="0"/>
              <a:t>19st 2013</a:t>
            </a:r>
          </a:p>
          <a:p>
            <a:r>
              <a:rPr lang="sv-SE" dirty="0"/>
              <a:t>6st leda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3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2639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29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Medlemsavgift 2024</a:t>
            </a:r>
            <a:br>
              <a:rPr lang="sv-SE" dirty="0"/>
            </a:br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Medlemsavgift</a:t>
            </a:r>
            <a:br>
              <a:rPr lang="sv-SE" dirty="0"/>
            </a:br>
            <a:r>
              <a:rPr lang="sv-SE" dirty="0">
                <a:effectLst/>
              </a:rPr>
              <a:t>Familj*1000 kr, Aktiv500 kr Ledare och tränare100 kr Stödmedlem (ej aktiv spelare)100 kr</a:t>
            </a:r>
            <a:br>
              <a:rPr lang="sv-SE" dirty="0"/>
            </a:br>
            <a:br>
              <a:rPr lang="sv-SE" dirty="0"/>
            </a:br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Träningsavgift</a:t>
            </a:r>
            <a:br>
              <a:rPr lang="sv-SE" dirty="0"/>
            </a:br>
            <a:r>
              <a:rPr lang="sv-SE" dirty="0">
                <a:effectLst/>
              </a:rPr>
              <a:t>Ungdomssektion 7mot7 (10-12 år)700 k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22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B45C2-DF17-1724-F600-BE62E241D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AE2066-F50E-4A25-59D9-8DE21F74D4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9A6D9A-73BD-FF22-431B-6FB7F10FC7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2CA5C-7E74-C0AB-DEBF-EAC322A9EE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20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513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F3C8F-67EE-4EEA-AB62-A759602A5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C11674-C039-6F8C-FAB0-BB55FD5FA7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0E74B8-1F65-2EF3-D844-338EBD0941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BD32B-9683-238A-94D1-6F50BF505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68789-7DCF-23FD-D446-4D4700723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3A36BC-E0AA-D615-7B02-1A3F247556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D371CC-A15E-4799-FCE1-AF477F5EF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8B3834-AFD1-C141-58EA-2D5C94F791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4408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FC3959-4A4C-DADF-EC78-52083267A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7FB27C-72DC-BD49-B4BE-5999A61182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AD3A89-CD08-9B48-5768-028BEF7FB2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39BE4-AC0A-6E31-349C-88BFD2BC2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774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1398E7-824B-F54B-3FCD-08FACB736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F0FAD1-E6B4-2A64-3305-81142D5A74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913CEC-634B-BFD2-DBED-47199F8940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B9690-8673-D912-8D94-CA1B14ADCC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623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3FC883-B1C1-05DB-CAF0-EB22884CE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133912-DFEE-A620-8C8D-5D2B041F75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42CB0B-DFB0-03F1-9CB7-DFCBACACE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1200" b="0" i="0" dirty="0">
                <a:effectLst/>
                <a:latin typeface="ProximaNova"/>
              </a:rPr>
              <a:t>• Bohuslyftet f12 24/5</a:t>
            </a:r>
            <a:endParaRPr lang="sv-SE" sz="1200" dirty="0">
              <a:latin typeface="ProximaNova"/>
            </a:endParaRPr>
          </a:p>
          <a:p>
            <a:pPr marL="0" indent="0">
              <a:buNone/>
            </a:pPr>
            <a:r>
              <a:rPr lang="sv-SE" sz="1200" dirty="0">
                <a:latin typeface="ProximaNova"/>
              </a:rPr>
              <a:t>• S</a:t>
            </a:r>
            <a:r>
              <a:rPr lang="sv-SE" sz="1200" b="0" i="0" dirty="0">
                <a:effectLst/>
                <a:latin typeface="ProximaNova"/>
              </a:rPr>
              <a:t>eriespel</a:t>
            </a:r>
          </a:p>
          <a:p>
            <a:pPr marL="0" indent="0">
              <a:buNone/>
            </a:pPr>
            <a:r>
              <a:rPr lang="sv-SE" sz="1200" b="0" i="0" dirty="0">
                <a:effectLst/>
                <a:latin typeface="ProximaNova"/>
              </a:rPr>
              <a:t>• </a:t>
            </a:r>
            <a:r>
              <a:rPr lang="sv-SE" sz="1200" b="0" i="0" dirty="0" err="1">
                <a:effectLst/>
                <a:latin typeface="ProximaNova"/>
              </a:rPr>
              <a:t>Hemmaläger</a:t>
            </a:r>
            <a:r>
              <a:rPr lang="sv-SE" sz="1200" b="0" i="0" dirty="0">
                <a:effectLst/>
                <a:latin typeface="ProximaNova"/>
              </a:rPr>
              <a:t> med träningmatch 22/3-23/3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Cuper Tvååker 26-28/9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Laget.se - lagets/föreningens informationskanal. Viktigt att alla har rätt uppgifter inlagda och tar del av information, svarar på kallelser mm.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Föräldra- och laguppgifter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Medlemsavgift, ekonomisk stöd via Majblomman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Matchställ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Försäkring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Övrigt</a:t>
            </a:r>
            <a:endParaRPr lang="en-US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1BDF85-366A-A228-83A4-705EB74A1A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0652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08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Klubben betalar cupavgiften. 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Föräldrar behövs för transporter och supportrar.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Inkvartering sker i närliggande skolor (Stöpenskolan, Frösveskolan, Värings skola och Tidanskolan) och även skolor efter behov i centrala Skövde (Västerhöjd, </a:t>
            </a:r>
            <a:r>
              <a:rPr lang="sv-SE" b="0" i="0" dirty="0" err="1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KomVux</a:t>
            </a:r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). Även närbelägna församlingshem och bygdegårdar nyttjas.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Vallas P12 åker även på denna cup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Eventuell någon ytterligare c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800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8E477-F3E6-3848-EF3D-1555CB1DF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BE6924-6D48-4F69-29C5-35F6E3CA46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B4D71A-12AA-430E-0866-9EF8F4C16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93B2F2-6A4A-54F1-5B02-1FEF67279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83970-3F33-4DA9-E927-0D73B0C5E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587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0B884-DD45-141B-B885-F4805AD7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E4E8E3-4482-8BC9-E97E-0A30D0F23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4F5209-4A8C-BD24-320D-37B117743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9225B4-4D69-C8CF-1895-E2B2C1279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345C2-729E-3700-754D-51860DED3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211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F72DEB-CD66-E661-2E8A-0EB38667E0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C65503-528D-B0E7-1A30-356ECBE05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B0C9DB-E5C8-6B2F-60C4-EE5A1FBE0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2AF9C4-81AE-2C2B-E3F9-C671FECFC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92064-DF50-205A-D1D1-525A0D99F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922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6A6D3-A7C7-B35A-3F11-9EC6A9652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2DE88-86ED-9C98-3B35-7B417C5AA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7A597-8F88-6597-B260-B77EDEF05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F65A6-FA1B-88A4-D41D-7A8320928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0FD0E-1471-EBCA-4222-52E4E5AFF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796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711D7-8A17-CDAD-C5FA-B7C9187E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489BB-E0CB-6621-1B0B-1EB18CF03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6EEAD-1EC7-C42E-216E-04FC95DEE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B264A-922E-76ED-F6A7-731F3B84B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821C1-4800-0134-F830-97CD3872F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0ABF7-114E-B37E-51D5-1776DBB23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577888-9EBA-1B3D-3903-3D19EEC19A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5EB2EC-8790-FE81-996A-91A18CC73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820418-881D-ECCC-EB90-4F05E28D1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1401D8-029C-EB98-F84F-167F3C6DB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72246C-D60F-D909-68B0-6231ACA31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66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8FE31-489A-2E70-07AC-A326C92B9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EAD316-82D5-B2B3-7410-2E3009A0B8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8CC788-1BD7-3AE2-53AB-6A733467F0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21F861-589B-B360-BCE2-045C444EAE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64C641-AE46-2B09-2AC9-BCB8E1E93D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50927C-552E-E5D3-63CE-AB2393F7D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4D4EBE-21C2-6D11-0F10-1BE8C7942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ADE779-8BAC-2ACC-A3E2-9C258E4ED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25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EBEAC-CBB4-6653-FFF9-503FA2E1C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B7D621-02F2-B321-0621-D74C16CFD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3BBDD1-9B7B-6DFF-224F-2D75D4501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B5BE6F-09E4-2ABA-46A7-46B5D93C5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3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C61E15-BD93-393E-63B9-9D2E42E58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3C535-7305-BB20-A454-4422861FA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91FA59-3FC2-1F0E-FFAE-2EBA01529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145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B0DC-43FA-E59C-B3A6-4616127FD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AEE1A5-AF5F-1F80-8520-28ED2AD7B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417F3-6FB2-8F3A-9026-D4C3FF3E08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CF7CEF-4613-CCD9-F6CA-6E61048C0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C12E0F-36F7-3856-CE69-49068E2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2D1447-419C-5B8B-0CCD-ECA4669BD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120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353E4-4C13-4557-03CD-9990D9E8F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CD99E0-8B5C-8832-C294-E809D1243C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A1FD0C-155A-03C6-718F-FA876036FD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E6730A-D74E-6EE6-D3DC-1E6BD5428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37E443-BE16-2E11-7981-94255077E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564B00-242D-7292-5C1D-5CA21CF94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400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43551-EBDB-29FF-494E-FEDB0DE4F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26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43551-EBDB-29FF-494E-FEDB0DE4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7FB8B5-D9AB-A986-9F9C-117C313A3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D4114-4849-991C-9A81-A95D03C2D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57310-BD9B-6383-27EA-392B4485B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55191C-9952-4865-BF69-B649EF98870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7A528E-6FC1-232E-1BD6-5BB7A4B6CA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D861E7-8150-1E91-A97A-CC127F12A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16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aktiva.svenskfotboll.se/tranare/spelformer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bloggen.laget.se/wp-content/uploads/2021/09/Guide-fo%CC%88ra%CC%88ldrar-i-systemet.pdf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tersport.se/club-intersport/registrera/?team=ifk-valla" TargetMode="External"/><Relationship Id="rId2" Type="http://schemas.openxmlformats.org/officeDocument/2006/relationships/hyperlink" Target="https://team.intersport.se/ifk-valla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laget.se/IFKValla/Page/451685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https/www.folksam.se/forsakringar/idrottsforsakring/fotboll" TargetMode="External"/><Relationship Id="rId2" Type="http://schemas.openxmlformats.org/officeDocument/2006/relationships/hyperlink" Target="https://aktiva.svenskfotboll.se/forening/administration/forsakringar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1030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BEC049-4461-84E4-AAC0-AB7E85866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87737" y="1384296"/>
            <a:ext cx="4605340" cy="2387600"/>
          </a:xfrm>
        </p:spPr>
        <p:txBody>
          <a:bodyPr>
            <a:normAutofit/>
          </a:bodyPr>
          <a:lstStyle/>
          <a:p>
            <a:pPr algn="l"/>
            <a:r>
              <a:rPr lang="sv-SE" sz="5000">
                <a:solidFill>
                  <a:schemeClr val="bg1"/>
                </a:solidFill>
              </a:rPr>
              <a:t>IFK VALLA F12/13</a:t>
            </a:r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E9C6F5-BC6F-62E0-BA31-7C768471F6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87737" y="3863971"/>
            <a:ext cx="4605340" cy="1655762"/>
          </a:xfrm>
        </p:spPr>
        <p:txBody>
          <a:bodyPr>
            <a:normAutofit/>
          </a:bodyPr>
          <a:lstStyle/>
          <a:p>
            <a:pPr algn="l"/>
            <a:r>
              <a:rPr lang="sv-SE" sz="2000" dirty="0">
                <a:solidFill>
                  <a:schemeClr val="bg1"/>
                </a:solidFill>
              </a:rPr>
              <a:t>Föräldramöte 2025-01-12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FK Valla">
            <a:extLst>
              <a:ext uri="{FF2B5EF4-FFF2-40B4-BE49-F238E27FC236}">
                <a16:creationId xmlns:a16="http://schemas.microsoft.com/office/drawing/2014/main" id="{AFDAF1D6-D78F-7784-E413-647BD7165F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7" r="18858" b="-1"/>
          <a:stretch/>
        </p:blipFill>
        <p:spPr bwMode="auto">
          <a:xfrm>
            <a:off x="473874" y="1057275"/>
            <a:ext cx="5917401" cy="474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Rectangle 1032">
            <a:extLst>
              <a:ext uri="{FF2B5EF4-FFF2-40B4-BE49-F238E27FC236}">
                <a16:creationId xmlns:a16="http://schemas.microsoft.com/office/drawing/2014/main" id="{D84C2E9E-0B5D-4B5F-9A1F-70EBDCE39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2461" y="1197769"/>
            <a:ext cx="10987078" cy="446246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EF36B2BE-65F4-46E3-AFDD-A9AE9E885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6206" y="115193"/>
            <a:ext cx="11939588" cy="662761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448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825EEF-73EC-16B4-3786-F0912D2C5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>
                <a:solidFill>
                  <a:schemeClr val="bg1"/>
                </a:solidFill>
                <a:effectLst/>
                <a:latin typeface="ProximaNova"/>
              </a:rPr>
              <a:t>Matcher och seriespel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B835CC1-4CAB-D6CD-4A59-9B6C85752F47}"/>
              </a:ext>
            </a:extLst>
          </p:cNvPr>
          <p:cNvSpPr txBox="1">
            <a:spLocks/>
          </p:cNvSpPr>
          <p:nvPr/>
        </p:nvSpPr>
        <p:spPr>
          <a:xfrm>
            <a:off x="5327955" y="448238"/>
            <a:ext cx="702960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b="1" dirty="0"/>
              <a:t>Säsongen 2025</a:t>
            </a:r>
          </a:p>
          <a:p>
            <a:r>
              <a:rPr lang="sv-SE" b="1" dirty="0"/>
              <a:t>2st 7-manna, 1st 9-manna</a:t>
            </a:r>
          </a:p>
          <a:p>
            <a:r>
              <a:rPr lang="sv-SE" b="1" dirty="0"/>
              <a:t>Bohuslän/Dalsland</a:t>
            </a:r>
            <a:endParaRPr lang="en-US" b="1" dirty="0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12617D66-27EF-0CC5-AF9E-5BD449088C22}"/>
              </a:ext>
            </a:extLst>
          </p:cNvPr>
          <p:cNvSpPr txBox="1"/>
          <p:nvPr/>
        </p:nvSpPr>
        <p:spPr>
          <a:xfrm>
            <a:off x="5572990" y="6211669"/>
            <a:ext cx="76546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aktiva.svenskfotboll.se/tranare/spelformer/</a:t>
            </a:r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9AA52C-A5D7-575B-20F1-391678C8A3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583329" cy="435133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213274-BF5E-AFD9-283B-CB1986EBA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4044" y="1825625"/>
            <a:ext cx="6299433" cy="367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796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A6B8B66-AE28-C6AD-B247-B5D76A8AA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EF56342-01EA-DB1A-FB68-2F3B1F0E4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3564EF-6A7E-8A75-278B-A04CEA172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F85B016-BC89-FE4D-3A9C-04323B80DC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471EDE-3650-6C7A-AEF8-0A4D1531A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 dirty="0">
                <a:solidFill>
                  <a:schemeClr val="bg1"/>
                </a:solidFill>
                <a:effectLst/>
                <a:latin typeface="ProximaNova"/>
              </a:rPr>
              <a:t>Matchstäl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99DE-A10F-6711-070F-171DFA087F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F085FBF-7A04-A0BE-C68C-A9DF89672A37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- </a:t>
            </a:r>
            <a:r>
              <a:rPr lang="en-US" sz="2400" dirty="0" err="1"/>
              <a:t>Inför</a:t>
            </a:r>
            <a:r>
              <a:rPr lang="en-US" sz="2400" dirty="0"/>
              <a:t> </a:t>
            </a:r>
            <a:r>
              <a:rPr lang="en-US" sz="2400" dirty="0" err="1"/>
              <a:t>säsongen</a:t>
            </a:r>
            <a:r>
              <a:rPr lang="en-US" sz="2400" dirty="0"/>
              <a:t> 2025 </a:t>
            </a:r>
            <a:r>
              <a:rPr lang="en-US" sz="2400" dirty="0" err="1"/>
              <a:t>är</a:t>
            </a:r>
            <a:r>
              <a:rPr lang="en-US" sz="2400" dirty="0"/>
              <a:t> </a:t>
            </a:r>
            <a:r>
              <a:rPr lang="en-US" sz="2400" dirty="0" err="1"/>
              <a:t>målet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dela </a:t>
            </a:r>
            <a:r>
              <a:rPr lang="en-US" sz="2400" dirty="0" err="1"/>
              <a:t>ut</a:t>
            </a:r>
            <a:r>
              <a:rPr lang="en-US" sz="2400" dirty="0"/>
              <a:t> </a:t>
            </a:r>
            <a:r>
              <a:rPr lang="en-US" sz="2400" dirty="0" err="1"/>
              <a:t>ett</a:t>
            </a:r>
            <a:r>
              <a:rPr lang="en-US" sz="2400" dirty="0"/>
              <a:t>           </a:t>
            </a:r>
            <a:r>
              <a:rPr lang="en-US" sz="2400" dirty="0" err="1"/>
              <a:t>personligt</a:t>
            </a:r>
            <a:r>
              <a:rPr lang="en-US" sz="2400" dirty="0"/>
              <a:t> </a:t>
            </a:r>
            <a:r>
              <a:rPr lang="en-US" sz="2400" dirty="0" err="1"/>
              <a:t>matchställ</a:t>
            </a:r>
            <a:r>
              <a:rPr lang="en-US" sz="2400" dirty="0"/>
              <a:t> (</a:t>
            </a:r>
            <a:r>
              <a:rPr lang="en-US" sz="2400" dirty="0" err="1"/>
              <a:t>Tröja</a:t>
            </a:r>
            <a:r>
              <a:rPr lang="en-US" sz="2400" dirty="0"/>
              <a:t>/Shorts) till </a:t>
            </a:r>
            <a:r>
              <a:rPr lang="en-US" sz="2400" dirty="0" err="1"/>
              <a:t>alla</a:t>
            </a:r>
            <a:r>
              <a:rPr lang="en-US" sz="2400" dirty="0"/>
              <a:t>.  </a:t>
            </a:r>
          </a:p>
          <a:p>
            <a:pPr>
              <a:buFontTx/>
              <a:buChar char="-"/>
            </a:pPr>
            <a:r>
              <a:rPr lang="en-US" sz="2400" dirty="0"/>
              <a:t>Detta för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underlätta</a:t>
            </a:r>
            <a:r>
              <a:rPr lang="en-US" sz="2400" dirty="0"/>
              <a:t> vid </a:t>
            </a:r>
            <a:r>
              <a:rPr lang="en-US" sz="2400" dirty="0" err="1"/>
              <a:t>matchregistrering</a:t>
            </a:r>
            <a:r>
              <a:rPr lang="en-US" sz="2400" dirty="0"/>
              <a:t> </a:t>
            </a:r>
            <a:r>
              <a:rPr lang="en-US" sz="2400" dirty="0" err="1"/>
              <a:t>som</a:t>
            </a:r>
            <a:r>
              <a:rPr lang="en-US" sz="2400" dirty="0"/>
              <a:t> ska </a:t>
            </a:r>
            <a:r>
              <a:rPr lang="en-US" sz="2400" dirty="0" err="1"/>
              <a:t>göras</a:t>
            </a:r>
            <a:r>
              <a:rPr lang="en-US" sz="2400" dirty="0"/>
              <a:t> </a:t>
            </a:r>
            <a:r>
              <a:rPr lang="en-US" sz="2400" dirty="0" err="1"/>
              <a:t>innan</a:t>
            </a:r>
            <a:r>
              <a:rPr lang="en-US" sz="2400" dirty="0"/>
              <a:t> </a:t>
            </a:r>
            <a:r>
              <a:rPr lang="en-US" sz="2400" dirty="0" err="1"/>
              <a:t>varje</a:t>
            </a:r>
            <a:r>
              <a:rPr lang="en-US" sz="2400" dirty="0"/>
              <a:t> match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får</a:t>
            </a:r>
            <a:r>
              <a:rPr lang="en-US" sz="2400" dirty="0"/>
              <a:t> </a:t>
            </a:r>
            <a:r>
              <a:rPr lang="en-US" sz="2400" dirty="0" err="1"/>
              <a:t>ett</a:t>
            </a:r>
            <a:r>
              <a:rPr lang="en-US" sz="2400" dirty="0"/>
              <a:t> </a:t>
            </a:r>
            <a:r>
              <a:rPr lang="en-US" sz="2400" dirty="0" err="1"/>
              <a:t>ställ</a:t>
            </a:r>
            <a:r>
              <a:rPr lang="en-US" sz="2400" dirty="0"/>
              <a:t> med </a:t>
            </a:r>
            <a:r>
              <a:rPr lang="en-US" sz="2400" dirty="0" err="1"/>
              <a:t>rätt</a:t>
            </a:r>
            <a:r>
              <a:rPr lang="en-US" sz="2400" dirty="0"/>
              <a:t> </a:t>
            </a:r>
            <a:r>
              <a:rPr lang="en-US" sz="2400" dirty="0" err="1"/>
              <a:t>storlek</a:t>
            </a:r>
            <a:r>
              <a:rPr lang="en-US" sz="2400" dirty="0"/>
              <a:t>.</a:t>
            </a:r>
          </a:p>
          <a:p>
            <a:pPr>
              <a:buFontTx/>
              <a:buChar char="-"/>
            </a:pP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lämnas</a:t>
            </a:r>
            <a:r>
              <a:rPr lang="en-US" sz="2400" dirty="0"/>
              <a:t> </a:t>
            </a:r>
            <a:r>
              <a:rPr lang="en-US" sz="2400" dirty="0" err="1"/>
              <a:t>tillbaka</a:t>
            </a:r>
            <a:r>
              <a:rPr lang="en-US" sz="2400" dirty="0"/>
              <a:t> vid </a:t>
            </a:r>
            <a:r>
              <a:rPr lang="en-US" sz="2400" dirty="0" err="1"/>
              <a:t>slutet</a:t>
            </a:r>
            <a:r>
              <a:rPr lang="en-US" sz="2400" dirty="0"/>
              <a:t> av </a:t>
            </a:r>
            <a:r>
              <a:rPr lang="en-US" sz="2400" dirty="0" err="1"/>
              <a:t>säsongen</a:t>
            </a:r>
            <a:r>
              <a:rPr lang="en-US" sz="2400" dirty="0"/>
              <a:t>.</a:t>
            </a:r>
          </a:p>
          <a:p>
            <a:pPr>
              <a:buFontTx/>
              <a:buChar char="-"/>
            </a:pPr>
            <a:r>
              <a:rPr lang="en-US" sz="2400" dirty="0" err="1"/>
              <a:t>Blankett</a:t>
            </a:r>
            <a:r>
              <a:rPr lang="en-US" sz="2400" dirty="0"/>
              <a:t> ska </a:t>
            </a:r>
            <a:r>
              <a:rPr lang="en-US" sz="2400" dirty="0" err="1"/>
              <a:t>fyllas</a:t>
            </a:r>
            <a:r>
              <a:rPr lang="en-US" sz="2400" dirty="0"/>
              <a:t> i </a:t>
            </a:r>
            <a:r>
              <a:rPr lang="en-US" sz="2400" dirty="0" err="1"/>
              <a:t>där</a:t>
            </a:r>
            <a:r>
              <a:rPr lang="en-US" sz="2400" dirty="0"/>
              <a:t> </a:t>
            </a:r>
            <a:r>
              <a:rPr lang="en-US" sz="2400" dirty="0" err="1"/>
              <a:t>ni</a:t>
            </a:r>
            <a:r>
              <a:rPr lang="en-US" sz="2400" dirty="0"/>
              <a:t> </a:t>
            </a:r>
            <a:r>
              <a:rPr lang="en-US" sz="2400" dirty="0" err="1"/>
              <a:t>föräldrar</a:t>
            </a:r>
            <a:r>
              <a:rPr lang="en-US" sz="2400" dirty="0"/>
              <a:t> </a:t>
            </a:r>
            <a:r>
              <a:rPr lang="en-US" sz="2400" dirty="0" err="1"/>
              <a:t>bekräftar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ni</a:t>
            </a:r>
            <a:r>
              <a:rPr lang="en-US" sz="2400" dirty="0"/>
              <a:t> </a:t>
            </a:r>
            <a:r>
              <a:rPr lang="en-US" sz="2400" dirty="0" err="1"/>
              <a:t>tagit</a:t>
            </a:r>
            <a:r>
              <a:rPr lang="en-US" sz="2400" dirty="0"/>
              <a:t> </a:t>
            </a:r>
            <a:r>
              <a:rPr lang="en-US" sz="2400" dirty="0" err="1"/>
              <a:t>emot</a:t>
            </a:r>
            <a:r>
              <a:rPr lang="en-US" sz="2400" dirty="0"/>
              <a:t> </a:t>
            </a: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innebörden</a:t>
            </a:r>
            <a:r>
              <a:rPr lang="en-US" sz="2400" dirty="0"/>
              <a:t> om </a:t>
            </a: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ej</a:t>
            </a:r>
            <a:r>
              <a:rPr lang="en-US" sz="2400" dirty="0"/>
              <a:t> </a:t>
            </a:r>
            <a:r>
              <a:rPr lang="en-US" sz="2400" dirty="0" err="1"/>
              <a:t>lämnas</a:t>
            </a:r>
            <a:r>
              <a:rPr lang="en-US" sz="2400" dirty="0"/>
              <a:t> </a:t>
            </a:r>
            <a:r>
              <a:rPr lang="en-US" sz="2400" dirty="0" err="1"/>
              <a:t>tillbaka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85229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F27B9-766C-F427-F9DE-79EE67747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>
                <a:solidFill>
                  <a:schemeClr val="bg1"/>
                </a:solidFill>
                <a:effectLst/>
                <a:latin typeface="ProximaNova"/>
              </a:rPr>
              <a:t>Cuper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498356-C9F4-D481-6399-CC43134D41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b="1" dirty="0"/>
              <a:t>Tvååker 26-28/9 </a:t>
            </a:r>
            <a:br>
              <a:rPr lang="sv-SE" sz="2400" b="1" dirty="0"/>
            </a:br>
            <a:r>
              <a:rPr lang="sv-SE" sz="2400" dirty="0" err="1"/>
              <a:t>Tjejcup</a:t>
            </a:r>
            <a:endParaRPr lang="sv-SE" sz="2400" dirty="0"/>
          </a:p>
          <a:p>
            <a:pPr marL="0" indent="0">
              <a:buNone/>
            </a:pPr>
            <a:r>
              <a:rPr lang="sv-SE" sz="2400" dirty="0"/>
              <a:t>Boende </a:t>
            </a:r>
            <a:r>
              <a:rPr lang="sv-SE" sz="2400" dirty="0" err="1"/>
              <a:t>Ullaredscamping</a:t>
            </a:r>
            <a:r>
              <a:rPr lang="sv-SE" sz="2400" dirty="0"/>
              <a:t> kostnad ca 1200kr</a:t>
            </a:r>
            <a:endParaRPr lang="en-US" sz="2400" dirty="0"/>
          </a:p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r>
              <a:rPr lang="sv-SE" sz="2400" dirty="0"/>
              <a:t>Samåkning, behov av bilar på plats.</a:t>
            </a:r>
          </a:p>
          <a:p>
            <a:pPr marL="0" indent="0">
              <a:buNone/>
            </a:pP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656306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0B9147-382C-1CA3-FA39-952CC7022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Laget.s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6CCE79-5D6E-9A43-4C6B-C8DB8A181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5900" y="342900"/>
            <a:ext cx="6087138" cy="5554981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dirty="0"/>
              <a:t>- Föräldrar ansvarar för att hålla    kontaktuppgifter på laget.se uppdaterade.</a:t>
            </a:r>
          </a:p>
          <a:p>
            <a:pPr>
              <a:buFontTx/>
              <a:buChar char="-"/>
            </a:pPr>
            <a:r>
              <a:rPr lang="sv-SE" sz="2400" dirty="0"/>
              <a:t>Föräldrar ansvarar för hålla sig uppdaterad avseende information som kommuniceras på laget.se samt svarar på kallelser.</a:t>
            </a:r>
          </a:p>
          <a:p>
            <a:pPr>
              <a:buFontTx/>
              <a:buChar char="-"/>
            </a:pPr>
            <a:r>
              <a:rPr lang="sv-SE" sz="2400" dirty="0"/>
              <a:t>3 lag under säsongen. Vi kommer låna spelare mellan andra tjejlag inom klubben</a:t>
            </a:r>
          </a:p>
          <a:p>
            <a:pPr marL="0" indent="0">
              <a:buNone/>
            </a:pPr>
            <a:r>
              <a:rPr lang="sv-SE" sz="2400" b="1" u="sng" dirty="0"/>
              <a:t>Senast onsdag </a:t>
            </a:r>
            <a:r>
              <a:rPr lang="sv-SE" sz="2400" b="1" u="sng" dirty="0" err="1"/>
              <a:t>kl</a:t>
            </a:r>
            <a:r>
              <a:rPr lang="sv-SE" sz="2400" b="1" u="sng" dirty="0"/>
              <a:t> 21 skall svar lämnas till helgens matcher.</a:t>
            </a:r>
          </a:p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r>
              <a:rPr lang="sv-SE" sz="2400" b="1" u="sng" dirty="0"/>
              <a:t>Träning svar senast </a:t>
            </a:r>
            <a:r>
              <a:rPr lang="sv-SE" sz="2400" b="1" u="sng" dirty="0" err="1"/>
              <a:t>kl</a:t>
            </a:r>
            <a:r>
              <a:rPr lang="sv-SE" sz="2400" b="1" u="sng" dirty="0"/>
              <a:t> 12 samma dag.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89504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0D783B-15AD-4271-E18A-A45487322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6127" y="643467"/>
            <a:ext cx="3899745" cy="55710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7BDCA8-8E20-2310-28E2-58EB66DF3697}"/>
              </a:ext>
            </a:extLst>
          </p:cNvPr>
          <p:cNvSpPr txBox="1"/>
          <p:nvPr/>
        </p:nvSpPr>
        <p:spPr>
          <a:xfrm>
            <a:off x="622045" y="5845201"/>
            <a:ext cx="6094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Guide-föräldrar-i-systemet.pdf (laget.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1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5A3D2A-FE48-D17C-B8EF-019BA5EE3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3400" b="0" i="0">
                <a:solidFill>
                  <a:schemeClr val="bg1"/>
                </a:solidFill>
                <a:effectLst/>
                <a:latin typeface="ProximaNova"/>
              </a:rPr>
              <a:t>Föräldrauppgifter</a:t>
            </a:r>
            <a:endParaRPr lang="en-US" sz="340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4A90C-6EDD-A02D-837A-86724D240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20000"/>
          </a:bodyPr>
          <a:lstStyle/>
          <a:p>
            <a:pPr marL="0" indent="0">
              <a:buNone/>
            </a:pPr>
            <a:r>
              <a:rPr lang="sv-SE" sz="2200" b="0" i="0" dirty="0">
                <a:effectLst/>
              </a:rPr>
              <a:t>Föräldrar till barn och ungdomar i föreningen förväntas ställa upp på: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Betala den årliga medlems- och träningsavgiften i tid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Sälja idrottslotten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Ställa upp på de föräldrauppgifter du tilldelas kioskförsäljning + </a:t>
            </a:r>
            <a:r>
              <a:rPr lang="sv-SE" sz="2200" dirty="0"/>
              <a:t>baka</a:t>
            </a:r>
            <a:r>
              <a:rPr lang="sv-SE" sz="2200" b="0" i="0" dirty="0">
                <a:effectLst/>
              </a:rPr>
              <a:t>, matchvärd och </a:t>
            </a:r>
            <a:r>
              <a:rPr lang="sv-SE" sz="2200" b="0" i="0" dirty="0" err="1">
                <a:effectLst/>
              </a:rPr>
              <a:t>flaggvifftare</a:t>
            </a:r>
            <a:r>
              <a:rPr lang="sv-SE" sz="2200" b="0" i="0" dirty="0">
                <a:effectLst/>
              </a:rPr>
              <a:t> vid det egna lagets matcher*</a:t>
            </a:r>
            <a:br>
              <a:rPr lang="sv-SE" sz="2200" dirty="0"/>
            </a:br>
            <a:r>
              <a:rPr lang="sv-SE" sz="2200" dirty="0"/>
              <a:t>A</a:t>
            </a:r>
            <a:r>
              <a:rPr lang="sv-SE" sz="2200" b="0" i="0" dirty="0">
                <a:effectLst/>
              </a:rPr>
              <a:t>rbetsdagar höst/vår (minst 2 föräldrar/lag)</a:t>
            </a:r>
            <a:br>
              <a:rPr lang="sv-SE" sz="2200" b="1" dirty="0"/>
            </a:br>
            <a:r>
              <a:rPr lang="sv-SE" sz="2200" b="0" i="0" dirty="0">
                <a:effectLst/>
              </a:rPr>
              <a:t>Vallacupen</a:t>
            </a:r>
            <a:br>
              <a:rPr lang="sv-SE" sz="2200" dirty="0"/>
            </a:br>
            <a:r>
              <a:rPr lang="sv-SE" sz="2200" dirty="0"/>
              <a:t>Tvätt </a:t>
            </a:r>
            <a:r>
              <a:rPr lang="sv-SE" sz="2200" b="0" i="0" dirty="0">
                <a:effectLst/>
              </a:rPr>
              <a:t>av matchställ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Ta del av och följa föreningens policy (finns att läsa på föreningens hemsida)</a:t>
            </a:r>
            <a:br>
              <a:rPr lang="sv-SE" sz="2200" b="0" i="0" dirty="0">
                <a:effectLst/>
              </a:rPr>
            </a:br>
            <a:br>
              <a:rPr lang="sv-SE" sz="2200" dirty="0"/>
            </a:br>
            <a:r>
              <a:rPr lang="sv-SE" sz="2200" b="0" i="0" dirty="0">
                <a:effectLst/>
              </a:rPr>
              <a:t>* Förtjänst vid försäljning på matcher, cuper mm går till föreningens gemensamma utgifter</a:t>
            </a:r>
            <a:br>
              <a:rPr lang="sv-SE" sz="2200" dirty="0"/>
            </a:br>
            <a:r>
              <a:rPr lang="sv-SE" sz="2200" b="0" i="0" dirty="0">
                <a:effectLst/>
              </a:rPr>
              <a:t>(anläggning, matchställ, lagkassor mm).</a:t>
            </a:r>
          </a:p>
          <a:p>
            <a:pPr marL="0" indent="0">
              <a:buNone/>
            </a:pPr>
            <a:endParaRPr lang="sv-SE" sz="2200" b="0" i="0" dirty="0">
              <a:effectLst/>
            </a:endParaRPr>
          </a:p>
          <a:p>
            <a:pPr marL="0" indent="0">
              <a:buNone/>
            </a:pPr>
            <a:r>
              <a:rPr lang="sv-SE" sz="2200" dirty="0" err="1"/>
              <a:t>Föräldrarstöd</a:t>
            </a:r>
            <a:r>
              <a:rPr lang="sv-SE" sz="2200" dirty="0"/>
              <a:t> till matcher</a:t>
            </a:r>
            <a:endParaRPr lang="sv-SE" sz="2200" b="0" i="0" dirty="0">
              <a:effectLst/>
            </a:endParaRPr>
          </a:p>
          <a:p>
            <a:pPr marL="0" indent="0">
              <a:buNone/>
            </a:pPr>
            <a:endParaRPr lang="sv-SE" sz="2200" dirty="0"/>
          </a:p>
          <a:p>
            <a:pPr marL="0" indent="0">
              <a:buNone/>
            </a:pPr>
            <a:r>
              <a:rPr lang="sv-SE" sz="2200" dirty="0"/>
              <a:t>Mer information kommer kring vem som ansvarar för vad samt till vilka matcher. </a:t>
            </a:r>
          </a:p>
        </p:txBody>
      </p:sp>
    </p:spTree>
    <p:extLst>
      <p:ext uri="{BB962C8B-B14F-4D97-AF65-F5344CB8AC3E}">
        <p14:creationId xmlns:p14="http://schemas.microsoft.com/office/powerpoint/2010/main" val="249562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A67A1-F48F-1504-A4C0-9D9BBD21B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399028" cy="5367020"/>
          </a:xfrm>
        </p:spPr>
        <p:txBody>
          <a:bodyPr>
            <a:normAutofit/>
          </a:bodyPr>
          <a:lstStyle/>
          <a:p>
            <a:r>
              <a:rPr lang="sv-SE" sz="4100" dirty="0">
                <a:solidFill>
                  <a:schemeClr val="bg1"/>
                </a:solidFill>
              </a:rPr>
              <a:t>Medlemsavgift och träningsavgift</a:t>
            </a:r>
            <a:endParaRPr lang="en-US" sz="41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68CD8-48F4-B4C3-307E-8A06F25322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dirty="0"/>
              <a:t>Faktureras via e-mail till förälder på laget.se under våren 2025.</a:t>
            </a:r>
          </a:p>
          <a:p>
            <a:pPr marL="0" indent="0">
              <a:buNone/>
            </a:pPr>
            <a:r>
              <a:rPr lang="sv-SE" sz="2000" dirty="0" err="1"/>
              <a:t>Ev</a:t>
            </a:r>
            <a:r>
              <a:rPr lang="sv-SE" sz="2000" dirty="0"/>
              <a:t> familjeavgift skall meddelas </a:t>
            </a:r>
            <a:r>
              <a:rPr lang="sv-SE" sz="2000" b="0" i="0" dirty="0">
                <a:effectLst/>
              </a:rPr>
              <a:t>till medlemsansvarig@ifkvalla.se </a:t>
            </a:r>
            <a:br>
              <a:rPr lang="sv-SE" sz="2000" b="0" i="0" dirty="0">
                <a:effectLst/>
              </a:rPr>
            </a:br>
            <a:r>
              <a:rPr lang="sv-SE" sz="2000" b="0" i="0" dirty="0">
                <a:effectLst/>
              </a:rPr>
              <a:t>namnuppgifter och födelseå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på alla familjemedlemmar, alltså även för ej aktiva.</a:t>
            </a:r>
            <a:endParaRPr lang="sv-SE" sz="2000" dirty="0"/>
          </a:p>
          <a:p>
            <a:pPr marL="0" indent="0">
              <a:buNone/>
            </a:pPr>
            <a:endParaRPr lang="sv-SE" sz="2000" dirty="0"/>
          </a:p>
          <a:p>
            <a:pPr marL="0" indent="0">
              <a:buNone/>
            </a:pPr>
            <a:r>
              <a:rPr lang="sv-SE" sz="2000" b="0" i="0" dirty="0">
                <a:effectLst/>
              </a:rPr>
              <a:t>Betald medlemsavgift och träningsavgift är ett krav för att få delta i föreningens aktiviteter. Alla spelare är försäkrade genom föreningens försorg.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0" i="0" dirty="0">
                <a:effectLst/>
              </a:rPr>
              <a:t>Som medlem i IFK Valla erbjuds Du: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1-4 träningar per vecka under säsong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Träningsmaterial och matchkläde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Utbildade tränare/ledare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Möjlighet att delta i cuper och läge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Uppleva fotbollsglädje, gemenskap och mycket mer!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52382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776BF-1F0A-132F-7D62-5E24DEB49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DC15D98-A9E6-38A9-B7B8-FBD24D60F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016CE-D24D-18A3-6A19-C199DEAB1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7950638-2677-DA7D-2F76-EBECA848D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C77679-DAE6-89C6-AC63-FCE180B14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4100" dirty="0">
                <a:solidFill>
                  <a:schemeClr val="bg1"/>
                </a:solidFill>
              </a:rPr>
              <a:t>Majblomman</a:t>
            </a:r>
            <a:endParaRPr lang="en-US" sz="41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52C3AE-4706-811D-9E1B-21A855C0F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dirty="0"/>
              <a:t>Ansökan om ekonomiskstöd kan sökas via Majblomman</a:t>
            </a:r>
            <a:br>
              <a:rPr lang="sv-SE" dirty="0"/>
            </a:br>
            <a:r>
              <a:rPr lang="sv-SE" dirty="0"/>
              <a:t>senast 30 april samt 31 okto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913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59C886-1811-1860-6200-1C7ADCC97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3600" dirty="0">
                <a:solidFill>
                  <a:schemeClr val="bg1"/>
                </a:solidFill>
              </a:rPr>
              <a:t>IFK Vallas träningskläder/</a:t>
            </a:r>
            <a:br>
              <a:rPr lang="sv-SE" sz="3600" dirty="0">
                <a:solidFill>
                  <a:schemeClr val="bg1"/>
                </a:solidFill>
              </a:rPr>
            </a:br>
            <a:r>
              <a:rPr lang="sv-SE" sz="3600" dirty="0">
                <a:solidFill>
                  <a:schemeClr val="bg1"/>
                </a:solidFill>
              </a:rPr>
              <a:t>träningsoverall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43311-FF7B-A1BA-8FCD-CD6A62A9D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b="1" i="0" dirty="0" err="1">
                <a:effectLst/>
              </a:rPr>
              <a:t>Webshop</a:t>
            </a:r>
            <a:r>
              <a:rPr lang="sv-SE" sz="2000" b="1" i="0" dirty="0">
                <a:effectLst/>
              </a:rPr>
              <a:t>:</a:t>
            </a:r>
            <a:r>
              <a:rPr lang="sv-SE" sz="2000" b="0" i="0" dirty="0">
                <a:effectLst/>
              </a:rPr>
              <a:t> </a:t>
            </a:r>
            <a:r>
              <a:rPr lang="sv-SE" sz="2000" b="0" i="0" u="sng" dirty="0">
                <a:effectLst/>
                <a:hlinkClick r:id="rId2"/>
              </a:rPr>
              <a:t>https://team.intersport.se/ifk-valla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1" i="0" dirty="0">
                <a:effectLst/>
              </a:rPr>
              <a:t>Utprovning</a:t>
            </a:r>
            <a:br>
              <a:rPr lang="sv-SE" sz="2000" dirty="0"/>
            </a:br>
            <a:r>
              <a:rPr lang="sv-SE" sz="2000" b="0" i="0" dirty="0">
                <a:effectLst/>
              </a:rPr>
              <a:t>Är man osäker på vilken storlek man skall beställa så kan man prova kläderna i klubbstugan.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1" i="0" dirty="0">
                <a:effectLst/>
              </a:rPr>
              <a:t>Stöd IFK Valla</a:t>
            </a:r>
            <a:br>
              <a:rPr lang="sv-SE" sz="2000" dirty="0"/>
            </a:br>
            <a:r>
              <a:rPr lang="sv-SE" sz="2000" b="0" i="0" dirty="0">
                <a:effectLst/>
              </a:rPr>
              <a:t>Vi uppmanar alla föreningens medlemmar att bli medlem hos Intersport och välja att stötta IFK Valla.</a:t>
            </a:r>
            <a:br>
              <a:rPr lang="sv-SE" sz="2000" dirty="0"/>
            </a:br>
            <a:r>
              <a:rPr lang="sv-SE" sz="2000" b="0" i="0" dirty="0">
                <a:effectLst/>
              </a:rPr>
              <a:t>Du stödjer då IFK Valla med 3% i extra bonus när du handlar på Intersport samtidigt som du behåller din egen bonus. Medlemskapet är kortlöst och kostnadsfritt.</a:t>
            </a:r>
            <a:br>
              <a:rPr lang="sv-SE" sz="2000" dirty="0"/>
            </a:br>
            <a:r>
              <a:rPr lang="sv-SE" sz="2000" b="0" i="0" u="sng" dirty="0">
                <a:effectLst/>
                <a:hlinkClick r:id="rId3"/>
              </a:rPr>
              <a:t>Skapa konto och välj IFK Valla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0" i="0" dirty="0">
                <a:effectLst/>
              </a:rPr>
              <a:t>Läs mer under </a:t>
            </a:r>
            <a:r>
              <a:rPr lang="sv-SE" sz="2000" b="0" i="0" u="sng" dirty="0">
                <a:effectLst/>
                <a:hlinkClick r:id="rId4"/>
              </a:rPr>
              <a:t>Klubbkonfektion</a:t>
            </a:r>
            <a:br>
              <a:rPr lang="sv-SE" sz="1300" dirty="0"/>
            </a:b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10106723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AC8EB0-0A57-3EBC-92F8-5C81806F4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Försäkr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4E50D-C214-1DB3-C0E9-4C234C74D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b="0" i="0">
                <a:effectLst/>
              </a:rPr>
              <a:t>IFK Valla är anslutna till </a:t>
            </a:r>
            <a:r>
              <a:rPr lang="sv-SE" sz="2400" b="0" i="0" u="sng">
                <a:effectLst/>
                <a:hlinkClick r:id="rId2"/>
              </a:rPr>
              <a:t>Svenska Fotbollförbundet</a:t>
            </a:r>
            <a:r>
              <a:rPr lang="sv-SE" sz="2400" b="0" i="0">
                <a:effectLst/>
              </a:rPr>
              <a:t> som samarbetar med Folksam, vilket innebär att våra spelare omfattas av en olycksfallsförsäkring. Försäkringen i Folksam ger dig ett tryggt grundskydd, till exempel om du råkar ut för en skada under match eller träning.</a:t>
            </a:r>
            <a:br>
              <a:rPr lang="sv-SE" sz="2400"/>
            </a:br>
            <a:br>
              <a:rPr lang="sv-SE" sz="2400"/>
            </a:br>
            <a:r>
              <a:rPr lang="sv-SE" sz="2400" b="0" i="0">
                <a:effectLst/>
              </a:rPr>
              <a:t>Om du drabbats av en skada i samband med ditt fotbollsspel, så klicka på länken nedan för att få info om hur du anmäler det till Folksam.</a:t>
            </a:r>
            <a:br>
              <a:rPr lang="sv-SE" sz="2400"/>
            </a:br>
            <a:r>
              <a:rPr lang="sv-SE" sz="2400" b="0" i="0" u="sng">
                <a:effectLst/>
                <a:hlinkClick r:id="rId3"/>
              </a:rPr>
              <a:t>Folksam Idrottsskada</a:t>
            </a:r>
            <a:br>
              <a:rPr lang="sv-SE" sz="2400"/>
            </a:b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21380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A54CA-9EB6-2B58-01ED-2D5069344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Agenda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1144E-67AD-0260-44AF-9C30F6EC4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20000"/>
          </a:bodyPr>
          <a:lstStyle/>
          <a:p>
            <a:pPr marL="0" indent="0">
              <a:buNone/>
            </a:pPr>
            <a:r>
              <a:rPr lang="sv-SE" sz="2400" dirty="0">
                <a:latin typeface="ProximaNova"/>
              </a:rPr>
              <a:t>• Ledare</a:t>
            </a: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Återkoppling spelarintervjuer</a:t>
            </a:r>
            <a:endParaRPr lang="sv-SE" sz="2400" dirty="0">
              <a:latin typeface="ProximaNova"/>
            </a:endParaRP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b="0" i="0" dirty="0" err="1">
                <a:effectLst/>
                <a:latin typeface="ProximaNova"/>
              </a:rPr>
              <a:t>Föräldrarstöd</a:t>
            </a:r>
            <a:r>
              <a:rPr lang="sv-SE" sz="2400" b="0" i="0" dirty="0">
                <a:effectLst/>
                <a:latin typeface="ProximaNova"/>
              </a:rPr>
              <a:t> vid matcher</a:t>
            </a:r>
            <a:br>
              <a:rPr lang="sv-SE" sz="2400" dirty="0">
                <a:latin typeface="ProximaNova"/>
              </a:rPr>
            </a:br>
            <a:r>
              <a:rPr lang="sv-SE" sz="2400" dirty="0">
                <a:latin typeface="ProximaNova"/>
              </a:rPr>
              <a:t>• </a:t>
            </a:r>
            <a:r>
              <a:rPr lang="sv-SE" sz="2400" b="0" i="0" dirty="0">
                <a:effectLst/>
                <a:latin typeface="ProximaNova"/>
              </a:rPr>
              <a:t>Vallacupen 2/2</a:t>
            </a:r>
            <a:br>
              <a:rPr lang="sv-SE" sz="2400" dirty="0">
                <a:latin typeface="ProximaNova"/>
              </a:rPr>
            </a:br>
            <a:r>
              <a:rPr lang="sv-SE" sz="2400" dirty="0">
                <a:latin typeface="ProximaNova"/>
              </a:rPr>
              <a:t>• Tjejfotboll</a:t>
            </a:r>
            <a:br>
              <a:rPr lang="sv-SE" sz="2400" dirty="0">
                <a:latin typeface="ProximaNova"/>
              </a:rPr>
            </a:b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dirty="0">
                <a:latin typeface="ProximaNova"/>
              </a:rPr>
              <a:t>Träningstider mån/</a:t>
            </a:r>
            <a:r>
              <a:rPr lang="sv-SE" sz="2400" dirty="0" err="1">
                <a:latin typeface="ProximaNova"/>
              </a:rPr>
              <a:t>ons</a:t>
            </a:r>
            <a:endParaRPr lang="sv-SE" sz="2400" dirty="0">
              <a:latin typeface="ProximaNova"/>
            </a:endParaRP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Bohuslyftet f12 24/5</a:t>
            </a:r>
          </a:p>
          <a:p>
            <a:pPr marL="0" indent="0">
              <a:buNone/>
            </a:pPr>
            <a:r>
              <a:rPr lang="sv-SE" sz="2400" dirty="0">
                <a:latin typeface="ProximaNova"/>
              </a:rPr>
              <a:t>• S</a:t>
            </a:r>
            <a:r>
              <a:rPr lang="sv-SE" sz="2400" b="0" i="0" dirty="0">
                <a:effectLst/>
                <a:latin typeface="ProximaNova"/>
              </a:rPr>
              <a:t>eriespel</a:t>
            </a:r>
            <a:br>
              <a:rPr lang="sv-SE" sz="2400" b="0" i="0" dirty="0">
                <a:effectLst/>
                <a:latin typeface="ProximaNova"/>
              </a:rPr>
            </a:br>
            <a:r>
              <a:rPr lang="sv-SE" sz="2400" b="0" i="0" dirty="0">
                <a:effectLst/>
                <a:latin typeface="ProximaNova"/>
              </a:rPr>
              <a:t>• Matchställ</a:t>
            </a: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b="0" i="0" dirty="0" err="1">
                <a:effectLst/>
                <a:latin typeface="ProximaNova"/>
              </a:rPr>
              <a:t>Hemmaläger</a:t>
            </a:r>
            <a:r>
              <a:rPr lang="sv-SE" sz="2400" b="0" i="0" dirty="0">
                <a:effectLst/>
                <a:latin typeface="ProximaNova"/>
              </a:rPr>
              <a:t> med träningmatch 22/3-23/3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Cuper Tvååker 26-28/9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Laget.se - lagets/föreningens informationskanal. Viktigt att alla har rätt uppgifter inlagda och tar del av information, svarar på kallelser mm.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Föräldra- och laguppgifter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Medlemsavgift, ekonomisk stöd via Majblomman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Försäkring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Övrig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02069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AF3A4-C847-64B4-CD14-4865D3A3B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54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Övrigt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Frågor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eedback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ledaref12-13@ifkvalla.se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endParaRPr lang="en-US" sz="540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3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9AC4B3-1072-C887-37C1-23F983B7E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36F18D0-0C28-0705-CD80-5886CDDA67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340CF5-725B-18E9-5E9E-1DAB9B70E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46F53E3-64FD-6A85-F31E-06FFD794D0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E9E5B3-B252-7872-AD70-32334BED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Ledar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6D177C-DBD4-9FFD-D723-46FB9A657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400"/>
              <a:t>Christian “Chrille” Rosborg</a:t>
            </a:r>
          </a:p>
          <a:p>
            <a:pPr marL="0" indent="0">
              <a:buNone/>
            </a:pPr>
            <a:r>
              <a:rPr lang="en-US" sz="2400"/>
              <a:t>Lars Tärneberg</a:t>
            </a:r>
          </a:p>
          <a:p>
            <a:pPr marL="0" indent="0">
              <a:buNone/>
            </a:pPr>
            <a:r>
              <a:rPr lang="en-US" sz="2400"/>
              <a:t>Magnus Gregoriusson</a:t>
            </a:r>
          </a:p>
          <a:p>
            <a:pPr marL="0" indent="0">
              <a:buNone/>
            </a:pPr>
            <a:r>
              <a:rPr lang="en-US" sz="2400"/>
              <a:t>Therese Carlsson</a:t>
            </a:r>
          </a:p>
          <a:p>
            <a:pPr marL="0" indent="0">
              <a:buNone/>
            </a:pPr>
            <a:r>
              <a:rPr lang="en-US" sz="2400"/>
              <a:t>Viktoria “Vickan” Andreé</a:t>
            </a:r>
          </a:p>
          <a:p>
            <a:pPr marL="0" indent="0">
              <a:buNone/>
            </a:pPr>
            <a:r>
              <a:rPr lang="en-US" sz="2400"/>
              <a:t>Frida Christensson (lagledare/admin)</a:t>
            </a:r>
          </a:p>
          <a:p>
            <a:pPr marL="0" indent="0">
              <a:buNone/>
            </a:pPr>
            <a:endParaRPr lang="en-US" sz="240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51325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A2BFE6-4E7C-37B3-EFD6-75D0D1F0E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060BBC-0F59-9E94-6F14-A69D7AAF9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27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60BBC-0F59-9E94-6F14-A69D7AAF9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B2BA457-5A30-6629-528B-7541CF2616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279B87-A47A-4C55-B440-D3617006E2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B6D62E4-97F0-1565-F3BA-D61637FBB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C9C6A4-E7A9-75F1-E362-29A72832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Återkoppling spelarintervju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3200A57-8F80-FBE3-A123-F77AB39AEC0F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220A09-5293-7B6C-1B69-103460A081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 err="1"/>
              <a:t>Spelarintervjuer</a:t>
            </a:r>
            <a:r>
              <a:rPr lang="en-US" sz="2400" dirty="0"/>
              <a:t> (27st) vid </a:t>
            </a:r>
            <a:r>
              <a:rPr lang="en-US" sz="2400" dirty="0" err="1"/>
              <a:t>avslutningen</a:t>
            </a:r>
            <a:r>
              <a:rPr lang="en-US" sz="2400" dirty="0"/>
              <a:t> 2024</a:t>
            </a:r>
          </a:p>
          <a:p>
            <a:pPr marL="0" indent="0">
              <a:buNone/>
            </a:pPr>
            <a:r>
              <a:rPr lang="en-US" sz="2400" dirty="0"/>
              <a:t>Match 1 </a:t>
            </a:r>
            <a:r>
              <a:rPr lang="en-US" sz="2400" dirty="0" err="1"/>
              <a:t>ggr</a:t>
            </a:r>
            <a:r>
              <a:rPr lang="en-US" sz="2400" dirty="0"/>
              <a:t>/ </a:t>
            </a:r>
            <a:r>
              <a:rPr lang="en-US" sz="2400" dirty="0" err="1"/>
              <a:t>veckan</a:t>
            </a:r>
            <a:r>
              <a:rPr lang="en-US" sz="2400" dirty="0"/>
              <a:t> 8st</a:t>
            </a:r>
          </a:p>
          <a:p>
            <a:pPr marL="0" indent="0">
              <a:buNone/>
            </a:pPr>
            <a:r>
              <a:rPr lang="en-US" sz="2400" dirty="0"/>
              <a:t>Match 1-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6st</a:t>
            </a:r>
          </a:p>
          <a:p>
            <a:pPr marL="0" indent="0">
              <a:buNone/>
            </a:pPr>
            <a:r>
              <a:rPr lang="en-US" sz="2400" dirty="0"/>
              <a:t>Match 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9st</a:t>
            </a:r>
          </a:p>
          <a:p>
            <a:pPr marL="0" indent="0">
              <a:buNone/>
            </a:pPr>
            <a:r>
              <a:rPr lang="en-US" sz="2400" dirty="0"/>
              <a:t>Match 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spel</a:t>
            </a:r>
            <a:r>
              <a:rPr lang="en-US" sz="2400" dirty="0"/>
              <a:t> med </a:t>
            </a:r>
            <a:r>
              <a:rPr lang="en-US" sz="2400" dirty="0" err="1"/>
              <a:t>äldre</a:t>
            </a:r>
            <a:r>
              <a:rPr lang="en-US" sz="2400" dirty="0"/>
              <a:t> 4st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err="1"/>
              <a:t>Inventering</a:t>
            </a:r>
            <a:r>
              <a:rPr lang="en-US" sz="2400" dirty="0"/>
              <a:t> </a:t>
            </a:r>
            <a:r>
              <a:rPr lang="en-US" sz="2400" dirty="0" err="1"/>
              <a:t>januari</a:t>
            </a:r>
            <a:r>
              <a:rPr lang="en-US" sz="2400" dirty="0"/>
              <a:t> 2025</a:t>
            </a:r>
          </a:p>
          <a:p>
            <a:pPr marL="0" indent="0">
              <a:buNone/>
            </a:pPr>
            <a:r>
              <a:rPr lang="en-US" sz="2400" dirty="0"/>
              <a:t>21/32 </a:t>
            </a:r>
            <a:r>
              <a:rPr lang="en-US" sz="2400" dirty="0" err="1"/>
              <a:t>besvarade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1) 6 </a:t>
            </a:r>
            <a:r>
              <a:rPr lang="en-US" sz="2400" dirty="0" err="1"/>
              <a:t>st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2) 10 </a:t>
            </a:r>
            <a:r>
              <a:rPr lang="en-US" sz="2400" dirty="0" err="1"/>
              <a:t>st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r>
              <a:rPr lang="en-US" sz="2400" dirty="0"/>
              <a:t>0/X) 0st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err="1"/>
              <a:t>Ej</a:t>
            </a:r>
            <a:r>
              <a:rPr lang="en-US" sz="2400" dirty="0"/>
              <a:t> </a:t>
            </a:r>
            <a:r>
              <a:rPr lang="en-US" sz="2400" dirty="0" err="1"/>
              <a:t>svarat</a:t>
            </a:r>
            <a:r>
              <a:rPr lang="en-US" sz="2400" dirty="0"/>
              <a:t> med </a:t>
            </a:r>
            <a:r>
              <a:rPr lang="en-US" sz="2400" dirty="0" err="1"/>
              <a:t>antal</a:t>
            </a:r>
            <a:r>
              <a:rPr lang="en-US" sz="2400" dirty="0"/>
              <a:t> 5st.</a:t>
            </a:r>
          </a:p>
        </p:txBody>
      </p:sp>
    </p:spTree>
    <p:extLst>
      <p:ext uri="{BB962C8B-B14F-4D97-AF65-F5344CB8AC3E}">
        <p14:creationId xmlns:p14="http://schemas.microsoft.com/office/powerpoint/2010/main" val="1355982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B01CD82-8C74-4BE2-DE5A-AC3199889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3AFC90-9BD5-8A70-A28C-6B19ABBCA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410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AFC90-9BD5-8A70-A28C-6B19ABBCA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60D60E1-65B1-275F-3288-FEC7E59C07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502027-760E-4148-FBFC-C3F19EBAE1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B6ADB13-B69A-E18C-5208-75EEA78F6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8D5DBD-AD3B-0ABA-F8FC-6264A9AC4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 err="1">
                <a:solidFill>
                  <a:schemeClr val="bg1"/>
                </a:solidFill>
              </a:rPr>
              <a:t>Föräldrarstöd</a:t>
            </a:r>
            <a:r>
              <a:rPr lang="sv-SE" dirty="0">
                <a:solidFill>
                  <a:schemeClr val="bg1"/>
                </a:solidFill>
              </a:rPr>
              <a:t> vid matcher hemma och borta match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9764FD-667B-A6E3-72DA-2928D3B20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0039" y="7924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0242AF-8A8E-8374-F1D6-AA650D3688AB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Stötta</a:t>
            </a:r>
            <a:r>
              <a:rPr lang="en-US" sz="2400" dirty="0"/>
              <a:t> i </a:t>
            </a:r>
            <a:r>
              <a:rPr lang="en-US" sz="2400" dirty="0" err="1"/>
              <a:t>omklädningsrum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med </a:t>
            </a:r>
            <a:r>
              <a:rPr lang="en-US" sz="2400" dirty="0" err="1"/>
              <a:t>vattenflaskor</a:t>
            </a:r>
            <a:r>
              <a:rPr lang="en-US" sz="2400" dirty="0"/>
              <a:t>, </a:t>
            </a:r>
            <a:r>
              <a:rPr lang="en-US" sz="2400" dirty="0" err="1"/>
              <a:t>kläder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bänken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vid </a:t>
            </a:r>
            <a:r>
              <a:rPr lang="en-US" sz="2400" dirty="0" err="1"/>
              <a:t>eventuella</a:t>
            </a:r>
            <a:r>
              <a:rPr lang="en-US" sz="2400" dirty="0"/>
              <a:t> </a:t>
            </a:r>
            <a:r>
              <a:rPr lang="en-US" sz="2400" dirty="0" err="1"/>
              <a:t>skador</a:t>
            </a:r>
            <a:br>
              <a:rPr lang="en-US" sz="2400" dirty="0"/>
            </a:br>
            <a:r>
              <a:rPr lang="en-US" sz="2400" dirty="0" err="1"/>
              <a:t>Värma</a:t>
            </a:r>
            <a:r>
              <a:rPr lang="en-US" sz="2400" dirty="0"/>
              <a:t> </a:t>
            </a:r>
            <a:r>
              <a:rPr lang="en-US" sz="2400" dirty="0" err="1"/>
              <a:t>upp</a:t>
            </a:r>
            <a:r>
              <a:rPr lang="en-US" sz="2400" dirty="0"/>
              <a:t> </a:t>
            </a:r>
            <a:r>
              <a:rPr lang="en-US" sz="2400" dirty="0" err="1"/>
              <a:t>målvakt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med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göra</a:t>
            </a:r>
            <a:r>
              <a:rPr lang="en-US" sz="2400" dirty="0"/>
              <a:t> plan vid </a:t>
            </a:r>
            <a:r>
              <a:rPr lang="en-US" sz="2400" dirty="0" err="1"/>
              <a:t>behov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hemma</a:t>
            </a:r>
            <a:r>
              <a:rPr lang="en-US" sz="2400" dirty="0"/>
              <a:t> match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m.m</a:t>
            </a: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Schema </a:t>
            </a:r>
            <a:r>
              <a:rPr lang="en-US" sz="2400" dirty="0" err="1"/>
              <a:t>kommer</a:t>
            </a:r>
            <a:r>
              <a:rPr lang="en-US" sz="2400" dirty="0"/>
              <a:t>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får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med </a:t>
            </a:r>
            <a:r>
              <a:rPr lang="en-US" sz="2400" dirty="0" err="1"/>
              <a:t>någon</a:t>
            </a:r>
            <a:r>
              <a:rPr lang="en-US" sz="2400" dirty="0"/>
              <a:t> </a:t>
            </a:r>
            <a:r>
              <a:rPr lang="en-US" sz="2400" dirty="0" err="1"/>
              <a:t>gång</a:t>
            </a:r>
            <a:r>
              <a:rPr lang="en-US" sz="2400" dirty="0"/>
              <a:t>. </a:t>
            </a:r>
            <a:r>
              <a:rPr lang="en-US" sz="2400" dirty="0" err="1"/>
              <a:t>Gärna</a:t>
            </a:r>
            <a:r>
              <a:rPr lang="en-US" sz="2400" dirty="0"/>
              <a:t> </a:t>
            </a:r>
            <a:r>
              <a:rPr lang="en-US" sz="2400" dirty="0" err="1"/>
              <a:t>kvinnor</a:t>
            </a:r>
            <a:r>
              <a:rPr lang="en-US" sz="2400" dirty="0"/>
              <a:t> i </a:t>
            </a:r>
            <a:r>
              <a:rPr lang="en-US" sz="2400" dirty="0" err="1"/>
              <a:t>omklädningsrumet</a:t>
            </a:r>
            <a:r>
              <a:rPr lang="en-US" sz="24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Behöver</a:t>
            </a:r>
            <a:r>
              <a:rPr lang="en-US" sz="2400" dirty="0"/>
              <a:t> </a:t>
            </a:r>
            <a:r>
              <a:rPr lang="en-US" sz="2400" dirty="0" err="1"/>
              <a:t>inte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</a:t>
            </a:r>
            <a:r>
              <a:rPr lang="en-US" sz="2400" dirty="0" err="1"/>
              <a:t>förälder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</a:t>
            </a:r>
            <a:r>
              <a:rPr lang="en-US" sz="2400" dirty="0" err="1"/>
              <a:t>vuxen</a:t>
            </a:r>
            <a:r>
              <a:rPr lang="en-US" sz="2400" dirty="0"/>
              <a:t> </a:t>
            </a:r>
            <a:r>
              <a:rPr lang="en-US" sz="2400" dirty="0" err="1"/>
              <a:t>anhörig</a:t>
            </a:r>
            <a:r>
              <a:rPr lang="en-US" sz="24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 err="1"/>
              <a:t>Ordinarie</a:t>
            </a:r>
            <a:r>
              <a:rPr lang="en-US" sz="2400" b="1" dirty="0"/>
              <a:t> </a:t>
            </a:r>
            <a:r>
              <a:rPr lang="en-US" sz="2400" b="1" dirty="0" err="1"/>
              <a:t>ledare</a:t>
            </a:r>
            <a:r>
              <a:rPr lang="en-US" sz="2400" b="1" dirty="0"/>
              <a:t> </a:t>
            </a:r>
            <a:r>
              <a:rPr lang="en-US" sz="2400" b="1" dirty="0" err="1"/>
              <a:t>coachar</a:t>
            </a:r>
            <a:r>
              <a:rPr lang="en-US" sz="2400" b="1" dirty="0"/>
              <a:t> </a:t>
            </a:r>
            <a:r>
              <a:rPr lang="en-US" sz="2400" b="1" dirty="0" err="1"/>
              <a:t>och</a:t>
            </a:r>
            <a:r>
              <a:rPr lang="en-US" sz="2400" b="1" dirty="0"/>
              <a:t> </a:t>
            </a:r>
            <a:r>
              <a:rPr lang="en-US" sz="2400" b="1" dirty="0" err="1"/>
              <a:t>ansvarar</a:t>
            </a:r>
            <a:r>
              <a:rPr lang="en-US" sz="2400" b="1" dirty="0"/>
              <a:t> för </a:t>
            </a:r>
            <a:r>
              <a:rPr lang="en-US" sz="2400" b="1" dirty="0" err="1"/>
              <a:t>byten</a:t>
            </a:r>
            <a:r>
              <a:rPr lang="en-US" sz="2400" b="1" dirty="0"/>
              <a:t> </a:t>
            </a:r>
            <a:r>
              <a:rPr lang="en-US" sz="2400" b="1" dirty="0" err="1"/>
              <a:t>och</a:t>
            </a:r>
            <a:r>
              <a:rPr lang="en-US" sz="2400" b="1" dirty="0"/>
              <a:t> positioner </a:t>
            </a:r>
            <a:r>
              <a:rPr lang="en-US" sz="2400" b="1" dirty="0" err="1"/>
              <a:t>på</a:t>
            </a:r>
            <a:r>
              <a:rPr lang="en-US" sz="2400" b="1" dirty="0"/>
              <a:t> </a:t>
            </a:r>
            <a:r>
              <a:rPr lang="en-US" sz="2400" b="1" dirty="0" err="1"/>
              <a:t>planen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733947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6A32AA-7FBA-6DEE-8F8E-7AC15E447E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36880F3-39A1-221A-0D7D-9C7AEEF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40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880F3-39A1-221A-0D7D-9C7AEEF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17DF01B-D359-6A49-14B1-0622CB6DF6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D6E023-BCAC-0000-DDFC-92A31CA92F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2132FDD-ED9D-84C1-6B25-BC512BA38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377614-CC10-BBA1-842C-D72A95A2C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Vallacupen 2/2 kl. 07-1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CF8CF-CF5C-12C7-0B0C-B77E288F4B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62500" lnSpcReduction="20000"/>
          </a:bodyPr>
          <a:lstStyle/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2 lag, 5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ar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max 9st/lag. 3 matche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lutspel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äldr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/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ux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nhörig12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erson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höv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idig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man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iosk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/café, 6st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rridorvak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1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l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lag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ä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red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schem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l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ng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oll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nvänd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llmä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rd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) 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Övr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ekretari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1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jälp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till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rd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lag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result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etc. Mer inf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plats) 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BS! De 4st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unktionärern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neda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del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ig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dessa poste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ef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hov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ottag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+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ringarrangema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2st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ottag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lag,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äls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lag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älkomn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ch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informer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om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a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om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gä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)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ringarrangema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: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jälp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till med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idoaktivite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nf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plats)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&amp;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tä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2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lock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kräp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tork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bord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y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s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pperskorg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etc.)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BS!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min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om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l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ef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fö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svak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v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s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svak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vä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de ta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ig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l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fö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et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 Se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äv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ifog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instruktio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.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öv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et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k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ins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3st ta med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embak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. OBS! Ing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nöt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</a:t>
            </a:r>
            <a:endParaRPr lang="en-US" sz="2400" dirty="0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5CDB7D74-A5D4-D1CC-3822-F5A78C860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5315"/>
            <a:ext cx="280846" cy="5078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! </a:t>
            </a:r>
            <a:b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481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6A18BDE-2DB0-EFB7-47D0-EAF9E007F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61327C-B365-4E36-65EA-0270FA0A89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85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61327C-B365-4E36-65EA-0270FA0A8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316F6C4-290A-FEEF-CC69-DA28518A3B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8C1C1-8407-D790-AC9F-0CD06AFF7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FA796AE-E000-70ED-D19A-0E27255D65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26706E-14B9-19D6-EC99-23B33DE6D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Tjejfotboll IFK Vall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58E48-5371-4CE5-AB0D-F5117D6A2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Info om </a:t>
            </a:r>
            <a:r>
              <a:rPr lang="en-US" sz="2400" dirty="0" err="1"/>
              <a:t>tjejfotbollen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br>
              <a:rPr lang="en-US" sz="2400" dirty="0"/>
            </a:br>
            <a:r>
              <a:rPr lang="en-US" sz="2400" dirty="0" err="1"/>
              <a:t>Tjejdag</a:t>
            </a:r>
            <a:r>
              <a:rPr lang="en-US" sz="2400" dirty="0"/>
              <a:t> 25/4 save the date </a:t>
            </a:r>
            <a:r>
              <a:rPr lang="en-US" sz="2400" dirty="0" err="1"/>
              <a:t>mer</a:t>
            </a:r>
            <a:r>
              <a:rPr lang="en-US" sz="2400" dirty="0"/>
              <a:t> information </a:t>
            </a:r>
            <a:r>
              <a:rPr lang="en-US" sz="2400" dirty="0" err="1"/>
              <a:t>kommer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284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9DA7C3-3FD0-FD60-6605-DE82347B1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 dirty="0">
                <a:solidFill>
                  <a:schemeClr val="bg1"/>
                </a:solidFill>
                <a:effectLst/>
                <a:latin typeface="ProximaNova"/>
              </a:rPr>
              <a:t>Träninga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6540CB-179A-9707-90BC-E8B93FC5A6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dirty="0"/>
              <a:t>2 träningar i veckan. </a:t>
            </a:r>
          </a:p>
          <a:p>
            <a:pPr marL="0" indent="0">
              <a:buNone/>
            </a:pPr>
            <a:r>
              <a:rPr lang="sv-SE" sz="2400" dirty="0"/>
              <a:t>Träning måndagar och onsdagar tider är inte klart. Vi går ut i mars månad</a:t>
            </a:r>
          </a:p>
          <a:p>
            <a:pPr marL="0" indent="0">
              <a:buNone/>
            </a:pPr>
            <a:r>
              <a:rPr lang="en-US" sz="2400" dirty="0"/>
              <a:t>OBS: </a:t>
            </a:r>
            <a:r>
              <a:rPr lang="en-US" sz="2400" dirty="0" err="1"/>
              <a:t>På</a:t>
            </a:r>
            <a:r>
              <a:rPr lang="en-US" sz="2400" dirty="0"/>
              <a:t> plats i </a:t>
            </a:r>
            <a:r>
              <a:rPr lang="en-US" sz="2400" dirty="0" err="1"/>
              <a:t>omklädningsrum</a:t>
            </a:r>
            <a:r>
              <a:rPr lang="en-US" sz="2400" dirty="0"/>
              <a:t> </a:t>
            </a:r>
            <a:r>
              <a:rPr lang="en-US" sz="2400" dirty="0" err="1"/>
              <a:t>innan</a:t>
            </a:r>
            <a:r>
              <a:rPr lang="en-US" sz="2400" dirty="0"/>
              <a:t> för </a:t>
            </a:r>
            <a:r>
              <a:rPr lang="en-US" sz="2400" dirty="0" err="1"/>
              <a:t>samling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r>
              <a:rPr lang="sv-SE" sz="2400" u="sng" dirty="0"/>
              <a:t>Respektera tiderna. 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2948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41F91F-D0F8-83A2-A0E4-5A19994A40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55C11E-C76F-AF87-7CCE-72B3547AF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848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55C11E-C76F-AF87-7CCE-72B3547AF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01FE416-33DC-B045-1D00-CFDD688D72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E1AD81-471C-3479-4112-FB6A915C74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A73A35A-F7DC-4959-AE59-D10C15868E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91A038-03C9-E205-B0D9-1A62F724D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Bohuslyftet f1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33837-263E-2629-2729-8FA8EACE0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6B85201-826C-1506-D4B3-957F3C668B03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Bohuslyftet</a:t>
            </a:r>
            <a:r>
              <a:rPr lang="en-US" sz="2400" dirty="0"/>
              <a:t> 24/5 i Uddevalla för </a:t>
            </a:r>
            <a:r>
              <a:rPr lang="en-US" sz="2400" dirty="0" err="1"/>
              <a:t>flickor</a:t>
            </a:r>
            <a:r>
              <a:rPr lang="en-US" sz="2400" dirty="0"/>
              <a:t> </a:t>
            </a:r>
            <a:r>
              <a:rPr lang="en-US" sz="2400" dirty="0" err="1"/>
              <a:t>födda</a:t>
            </a:r>
            <a:r>
              <a:rPr lang="en-US" sz="2400" dirty="0"/>
              <a:t> 2012. </a:t>
            </a:r>
            <a:r>
              <a:rPr lang="en-US" sz="2400" dirty="0" err="1"/>
              <a:t>Föräldrar</a:t>
            </a:r>
            <a:r>
              <a:rPr lang="en-US" sz="2400" dirty="0"/>
              <a:t> </a:t>
            </a:r>
            <a:r>
              <a:rPr lang="en-US" sz="2400" dirty="0" err="1"/>
              <a:t>ansvarar</a:t>
            </a:r>
            <a:r>
              <a:rPr lang="en-US" sz="2400" dirty="0"/>
              <a:t> för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anmäla</a:t>
            </a:r>
            <a:r>
              <a:rPr lang="en-US" sz="2400" dirty="0"/>
              <a:t> till BFF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En </a:t>
            </a:r>
            <a:r>
              <a:rPr lang="en-US" sz="2400" dirty="0" err="1"/>
              <a:t>träff</a:t>
            </a:r>
            <a:r>
              <a:rPr lang="en-US" sz="2400" dirty="0"/>
              <a:t> </a:t>
            </a:r>
            <a:r>
              <a:rPr lang="en-US" sz="2400" dirty="0" err="1"/>
              <a:t>vår</a:t>
            </a:r>
            <a:r>
              <a:rPr lang="en-US" sz="2400" dirty="0"/>
              <a:t> </a:t>
            </a:r>
            <a:r>
              <a:rPr lang="en-US" sz="2400" dirty="0" err="1"/>
              <a:t>och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</a:t>
            </a:r>
            <a:r>
              <a:rPr lang="en-US" sz="2400" dirty="0" err="1"/>
              <a:t>höst</a:t>
            </a:r>
            <a:br>
              <a:rPr lang="en-US" sz="2400" dirty="0"/>
            </a:br>
            <a:endParaRPr lang="en-US" sz="2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E7A63E-5A3A-69D6-397D-01FA4B772A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0170" y="4608740"/>
            <a:ext cx="6024654" cy="120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069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41</TotalTime>
  <Words>1429</Words>
  <Application>Microsoft Office PowerPoint</Application>
  <PresentationFormat>Widescreen</PresentationFormat>
  <Paragraphs>147</Paragraphs>
  <Slides>2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Helvetica</vt:lpstr>
      <vt:lpstr>Open Sans</vt:lpstr>
      <vt:lpstr>ProximaNova</vt:lpstr>
      <vt:lpstr>Office Theme</vt:lpstr>
      <vt:lpstr>think-cell Slide</vt:lpstr>
      <vt:lpstr>IFK VALLA F12/13</vt:lpstr>
      <vt:lpstr>Agenda</vt:lpstr>
      <vt:lpstr>Ledare</vt:lpstr>
      <vt:lpstr>Återkoppling spelarintervjuer</vt:lpstr>
      <vt:lpstr>Föräldrarstöd vid matcher hemma och borta matcher</vt:lpstr>
      <vt:lpstr>Vallacupen 2/2 kl. 07-15</vt:lpstr>
      <vt:lpstr>Tjejfotboll IFK Valla</vt:lpstr>
      <vt:lpstr>Träningar</vt:lpstr>
      <vt:lpstr>Bohuslyftet f12</vt:lpstr>
      <vt:lpstr>Matcher och seriespel</vt:lpstr>
      <vt:lpstr>Matchställ</vt:lpstr>
      <vt:lpstr>Cuper</vt:lpstr>
      <vt:lpstr>Laget.se</vt:lpstr>
      <vt:lpstr>PowerPoint Presentation</vt:lpstr>
      <vt:lpstr>Föräldrauppgifter</vt:lpstr>
      <vt:lpstr>Medlemsavgift och träningsavgift</vt:lpstr>
      <vt:lpstr>Majblomman</vt:lpstr>
      <vt:lpstr>IFK Vallas träningskläder/ träningsoverall</vt:lpstr>
      <vt:lpstr>Försäkring</vt:lpstr>
      <vt:lpstr>Övrigt Frågor Feedback   ledaref12-13@ifkvalla.s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FK VALLA F12/13</dc:title>
  <dc:creator>Christensson, Frida</dc:creator>
  <cp:lastModifiedBy>Christensson, Frida</cp:lastModifiedBy>
  <cp:revision>7</cp:revision>
  <dcterms:created xsi:type="dcterms:W3CDTF">2023-02-06T14:53:08Z</dcterms:created>
  <dcterms:modified xsi:type="dcterms:W3CDTF">2025-04-23T05:2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9bfe634-5369-40ae-a17a-0ffc3537e7cd_Enabled">
    <vt:lpwstr>true</vt:lpwstr>
  </property>
  <property fmtid="{D5CDD505-2E9C-101B-9397-08002B2CF9AE}" pid="3" name="MSIP_Label_59bfe634-5369-40ae-a17a-0ffc3537e7cd_SetDate">
    <vt:lpwstr>2025-01-09T18:35:47Z</vt:lpwstr>
  </property>
  <property fmtid="{D5CDD505-2E9C-101B-9397-08002B2CF9AE}" pid="4" name="MSIP_Label_59bfe634-5369-40ae-a17a-0ffc3537e7cd_Method">
    <vt:lpwstr>Standard</vt:lpwstr>
  </property>
  <property fmtid="{D5CDD505-2E9C-101B-9397-08002B2CF9AE}" pid="5" name="MSIP_Label_59bfe634-5369-40ae-a17a-0ffc3537e7cd_Name">
    <vt:lpwstr>59bfe634-5369-40ae-a17a-0ffc3537e7cd</vt:lpwstr>
  </property>
  <property fmtid="{D5CDD505-2E9C-101B-9397-08002B2CF9AE}" pid="6" name="MSIP_Label_59bfe634-5369-40ae-a17a-0ffc3537e7cd_SiteId">
    <vt:lpwstr>05764a73-8c6f-4538-83cd-413f1e1b5665</vt:lpwstr>
  </property>
  <property fmtid="{D5CDD505-2E9C-101B-9397-08002B2CF9AE}" pid="7" name="MSIP_Label_59bfe634-5369-40ae-a17a-0ffc3537e7cd_ActionId">
    <vt:lpwstr>7a1f9441-5cfc-4ee2-86d8-23f3344eada8</vt:lpwstr>
  </property>
  <property fmtid="{D5CDD505-2E9C-101B-9397-08002B2CF9AE}" pid="8" name="MSIP_Label_59bfe634-5369-40ae-a17a-0ffc3537e7cd_ContentBits">
    <vt:lpwstr>0</vt:lpwstr>
  </property>
</Properties>
</file>